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media/image1.svg" ContentType="image/svg+xml"/>
  <Override PartName="/ppt/media/image2.svg" ContentType="image/svg+xml"/>
  <Override PartName="/ppt/media/image3.svg" ContentType="image/svg+xml"/>
  <Override PartName="/ppt/media/image4.svg" ContentType="image/svg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  <p:sldMasterId id="2147483655" r:id="rId3"/>
    <p:sldMasterId id="2147483674" r:id="rId4"/>
  </p:sldMasterIdLst>
  <p:notesMasterIdLst>
    <p:notesMasterId r:id="rId14"/>
  </p:notesMasterIdLst>
  <p:handoutMasterIdLst>
    <p:handoutMasterId r:id="rId15"/>
  </p:handoutMasterIdLst>
  <p:sldIdLst>
    <p:sldId id="308" r:id="rId5"/>
    <p:sldId id="309" r:id="rId6"/>
    <p:sldId id="301" r:id="rId7"/>
    <p:sldId id="303" r:id="rId8"/>
    <p:sldId id="304" r:id="rId9"/>
    <p:sldId id="305" r:id="rId10"/>
    <p:sldId id="311" r:id="rId11"/>
    <p:sldId id="306" r:id="rId12"/>
    <p:sldId id="307" r:id="rId13"/>
  </p:sldIdLst>
  <p:sldSz cx="12192000" cy="6858000"/>
  <p:notesSz cx="6858000" cy="9144000"/>
  <p:custDataLst>
    <p:tags r:id="rId2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作者" initials="A" lastIdx="0" clrIdx="1"/>
  <p:cmAuthor id="1" name="幸全" initials="幸全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F82C4"/>
    <a:srgbClr val="A20000"/>
    <a:srgbClr val="A40000"/>
    <a:srgbClr val="9E0000"/>
    <a:srgbClr val="C7450B"/>
    <a:srgbClr val="E24E0C"/>
    <a:srgbClr val="DC6140"/>
    <a:srgbClr val="E60000"/>
    <a:srgbClr val="C9670D"/>
    <a:srgbClr val="66B5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24" autoAdjust="0"/>
    <p:restoredTop sz="96182" autoAdjust="0"/>
  </p:normalViewPr>
  <p:slideViewPr>
    <p:cSldViewPr snapToGrid="0">
      <p:cViewPr varScale="1">
        <p:scale>
          <a:sx n="85" d="100"/>
          <a:sy n="85" d="100"/>
        </p:scale>
        <p:origin x="108" y="22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8" Type="http://schemas.openxmlformats.org/officeDocument/2006/relationships/slide" Target="slides/slide4.xml"/><Relationship Id="rId7" Type="http://schemas.openxmlformats.org/officeDocument/2006/relationships/slide" Target="slides/slide3.xml"/><Relationship Id="rId6" Type="http://schemas.openxmlformats.org/officeDocument/2006/relationships/slide" Target="slides/slide2.xml"/><Relationship Id="rId5" Type="http://schemas.openxmlformats.org/officeDocument/2006/relationships/slide" Target="slides/slide1.xml"/><Relationship Id="rId4" Type="http://schemas.openxmlformats.org/officeDocument/2006/relationships/slideMaster" Target="slideMasters/slideMaster3.xml"/><Relationship Id="rId3" Type="http://schemas.openxmlformats.org/officeDocument/2006/relationships/slideMaster" Target="slideMasters/slideMaster2.xml"/><Relationship Id="rId20" Type="http://schemas.openxmlformats.org/officeDocument/2006/relationships/tags" Target="tags/tag196.xml"/><Relationship Id="rId2" Type="http://schemas.openxmlformats.org/officeDocument/2006/relationships/theme" Target="theme/theme1.xml"/><Relationship Id="rId19" Type="http://schemas.openxmlformats.org/officeDocument/2006/relationships/commentAuthors" Target="commentAuthors.xml"/><Relationship Id="rId18" Type="http://schemas.openxmlformats.org/officeDocument/2006/relationships/tableStyles" Target="tableStyles.xml"/><Relationship Id="rId17" Type="http://schemas.openxmlformats.org/officeDocument/2006/relationships/viewProps" Target="viewProps.xml"/><Relationship Id="rId16" Type="http://schemas.openxmlformats.org/officeDocument/2006/relationships/presProps" Target="presProps.xml"/><Relationship Id="rId15" Type="http://schemas.openxmlformats.org/officeDocument/2006/relationships/handoutMaster" Target="handoutMasters/handoutMaster1.xml"/><Relationship Id="rId14" Type="http://schemas.openxmlformats.org/officeDocument/2006/relationships/notesMaster" Target="notesMasters/notesMaster1.xml"/><Relationship Id="rId13" Type="http://schemas.openxmlformats.org/officeDocument/2006/relationships/slide" Target="slides/slide9.xml"/><Relationship Id="rId12" Type="http://schemas.openxmlformats.org/officeDocument/2006/relationships/slide" Target="slides/slide8.xml"/><Relationship Id="rId11" Type="http://schemas.openxmlformats.org/officeDocument/2006/relationships/slide" Target="slides/slide7.xml"/><Relationship Id="rId10" Type="http://schemas.openxmlformats.org/officeDocument/2006/relationships/slide" Target="slides/slide6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tags" Target="../tags/tag7.xml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tags" Target="../tags/tag8.xml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tags" Target="../tags/tag9.xml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tags" Target="../tags/tag10.xml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tags" Target="../tags/tag11.xml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tags" Target="../tags/tag12.xml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3" Type="http://schemas.openxmlformats.org/officeDocument/2006/relationships/image" Target="../media/image6.jpeg"/><Relationship Id="rId2" Type="http://schemas.openxmlformats.org/officeDocument/2006/relationships/tags" Target="../tags/tag13.xml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7" Type="http://schemas.openxmlformats.org/officeDocument/2006/relationships/tags" Target="../tags/tag20.x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4" Type="http://schemas.openxmlformats.org/officeDocument/2006/relationships/tags" Target="../tags/tag17.xml"/><Relationship Id="rId3" Type="http://schemas.openxmlformats.org/officeDocument/2006/relationships/image" Target="../media/image3.jpeg"/><Relationship Id="rId2" Type="http://schemas.openxmlformats.org/officeDocument/2006/relationships/tags" Target="../tags/tag16.xml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9" Type="http://schemas.openxmlformats.org/officeDocument/2006/relationships/tags" Target="../tags/tag27.xml"/><Relationship Id="rId8" Type="http://schemas.openxmlformats.org/officeDocument/2006/relationships/tags" Target="../tags/tag26.xml"/><Relationship Id="rId7" Type="http://schemas.openxmlformats.org/officeDocument/2006/relationships/tags" Target="../tags/tag25.xml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4" Type="http://schemas.openxmlformats.org/officeDocument/2006/relationships/tags" Target="../tags/tag22.xml"/><Relationship Id="rId3" Type="http://schemas.openxmlformats.org/officeDocument/2006/relationships/image" Target="../media/image3.jpeg"/><Relationship Id="rId2" Type="http://schemas.openxmlformats.org/officeDocument/2006/relationships/tags" Target="../tags/tag21.xml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9" Type="http://schemas.openxmlformats.org/officeDocument/2006/relationships/tags" Target="../tags/tag34.xml"/><Relationship Id="rId8" Type="http://schemas.openxmlformats.org/officeDocument/2006/relationships/tags" Target="../tags/tag33.xml"/><Relationship Id="rId7" Type="http://schemas.openxmlformats.org/officeDocument/2006/relationships/tags" Target="../tags/tag32.x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4" Type="http://schemas.openxmlformats.org/officeDocument/2006/relationships/tags" Target="../tags/tag29.xml"/><Relationship Id="rId3" Type="http://schemas.openxmlformats.org/officeDocument/2006/relationships/image" Target="../media/image3.jpeg"/><Relationship Id="rId2" Type="http://schemas.openxmlformats.org/officeDocument/2006/relationships/tags" Target="../tags/tag28.xml"/><Relationship Id="rId10" Type="http://schemas.openxmlformats.org/officeDocument/2006/relationships/tags" Target="../tags/tag35.xml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9" Type="http://schemas.openxmlformats.org/officeDocument/2006/relationships/tags" Target="../tags/tag42.xml"/><Relationship Id="rId8" Type="http://schemas.openxmlformats.org/officeDocument/2006/relationships/tags" Target="../tags/tag41.xml"/><Relationship Id="rId7" Type="http://schemas.openxmlformats.org/officeDocument/2006/relationships/tags" Target="../tags/tag40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4" Type="http://schemas.openxmlformats.org/officeDocument/2006/relationships/tags" Target="../tags/tag37.xml"/><Relationship Id="rId3" Type="http://schemas.openxmlformats.org/officeDocument/2006/relationships/image" Target="../media/image3.jpeg"/><Relationship Id="rId2" Type="http://schemas.openxmlformats.org/officeDocument/2006/relationships/tags" Target="../tags/tag36.xml"/><Relationship Id="rId10" Type="http://schemas.openxmlformats.org/officeDocument/2006/relationships/tags" Target="../tags/tag43.xml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9" Type="http://schemas.openxmlformats.org/officeDocument/2006/relationships/tags" Target="../tags/tag50.xml"/><Relationship Id="rId8" Type="http://schemas.openxmlformats.org/officeDocument/2006/relationships/tags" Target="../tags/tag49.xml"/><Relationship Id="rId7" Type="http://schemas.openxmlformats.org/officeDocument/2006/relationships/tags" Target="../tags/tag48.xml"/><Relationship Id="rId6" Type="http://schemas.openxmlformats.org/officeDocument/2006/relationships/tags" Target="../tags/tag47.xml"/><Relationship Id="rId5" Type="http://schemas.openxmlformats.org/officeDocument/2006/relationships/tags" Target="../tags/tag46.xml"/><Relationship Id="rId4" Type="http://schemas.openxmlformats.org/officeDocument/2006/relationships/tags" Target="../tags/tag45.xml"/><Relationship Id="rId3" Type="http://schemas.openxmlformats.org/officeDocument/2006/relationships/image" Target="../media/image3.jpeg"/><Relationship Id="rId2" Type="http://schemas.openxmlformats.org/officeDocument/2006/relationships/tags" Target="../tags/tag44.xml"/><Relationship Id="rId10" Type="http://schemas.openxmlformats.org/officeDocument/2006/relationships/tags" Target="../tags/tag51.xml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9" Type="http://schemas.openxmlformats.org/officeDocument/2006/relationships/tags" Target="../tags/tag58.xml"/><Relationship Id="rId8" Type="http://schemas.openxmlformats.org/officeDocument/2006/relationships/tags" Target="../tags/tag57.xml"/><Relationship Id="rId7" Type="http://schemas.openxmlformats.org/officeDocument/2006/relationships/tags" Target="../tags/tag56.xml"/><Relationship Id="rId6" Type="http://schemas.openxmlformats.org/officeDocument/2006/relationships/tags" Target="../tags/tag55.xml"/><Relationship Id="rId5" Type="http://schemas.openxmlformats.org/officeDocument/2006/relationships/tags" Target="../tags/tag54.xml"/><Relationship Id="rId4" Type="http://schemas.openxmlformats.org/officeDocument/2006/relationships/tags" Target="../tags/tag53.xml"/><Relationship Id="rId3" Type="http://schemas.openxmlformats.org/officeDocument/2006/relationships/image" Target="../media/image3.jpeg"/><Relationship Id="rId2" Type="http://schemas.openxmlformats.org/officeDocument/2006/relationships/tags" Target="../tags/tag52.xml"/><Relationship Id="rId12" Type="http://schemas.openxmlformats.org/officeDocument/2006/relationships/tags" Target="../tags/tag61.xml"/><Relationship Id="rId11" Type="http://schemas.openxmlformats.org/officeDocument/2006/relationships/tags" Target="../tags/tag60.xml"/><Relationship Id="rId10" Type="http://schemas.openxmlformats.org/officeDocument/2006/relationships/tags" Target="../tags/tag59.xml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9" Type="http://schemas.openxmlformats.org/officeDocument/2006/relationships/tags" Target="../tags/tag68.xml"/><Relationship Id="rId8" Type="http://schemas.openxmlformats.org/officeDocument/2006/relationships/tags" Target="../tags/tag67.xml"/><Relationship Id="rId7" Type="http://schemas.openxmlformats.org/officeDocument/2006/relationships/tags" Target="../tags/tag66.xml"/><Relationship Id="rId6" Type="http://schemas.openxmlformats.org/officeDocument/2006/relationships/tags" Target="../tags/tag65.xml"/><Relationship Id="rId5" Type="http://schemas.openxmlformats.org/officeDocument/2006/relationships/tags" Target="../tags/tag64.xml"/><Relationship Id="rId4" Type="http://schemas.openxmlformats.org/officeDocument/2006/relationships/tags" Target="../tags/tag63.xml"/><Relationship Id="rId3" Type="http://schemas.openxmlformats.org/officeDocument/2006/relationships/image" Target="../media/image3.jpeg"/><Relationship Id="rId2" Type="http://schemas.openxmlformats.org/officeDocument/2006/relationships/tags" Target="../tags/tag62.xml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5" Type="http://schemas.openxmlformats.org/officeDocument/2006/relationships/tags" Target="../tags/tag74.xml"/><Relationship Id="rId4" Type="http://schemas.openxmlformats.org/officeDocument/2006/relationships/tags" Target="../tags/tag73.xml"/><Relationship Id="rId3" Type="http://schemas.openxmlformats.org/officeDocument/2006/relationships/image" Target="../media/image7.png"/><Relationship Id="rId2" Type="http://schemas.openxmlformats.org/officeDocument/2006/relationships/tags" Target="../tags/tag72.xml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7" Type="http://schemas.openxmlformats.org/officeDocument/2006/relationships/image" Target="../media/image3.svg"/><Relationship Id="rId6" Type="http://schemas.openxmlformats.org/officeDocument/2006/relationships/image" Target="../media/image9.png"/><Relationship Id="rId5" Type="http://schemas.openxmlformats.org/officeDocument/2006/relationships/tags" Target="../tags/tag76.xml"/><Relationship Id="rId4" Type="http://schemas.openxmlformats.org/officeDocument/2006/relationships/image" Target="../media/image2.svg"/><Relationship Id="rId3" Type="http://schemas.openxmlformats.org/officeDocument/2006/relationships/image" Target="../media/image8.png"/><Relationship Id="rId2" Type="http://schemas.openxmlformats.org/officeDocument/2006/relationships/tags" Target="../tags/tag75.xml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9" Type="http://schemas.openxmlformats.org/officeDocument/2006/relationships/image" Target="../media/image9.png"/><Relationship Id="rId8" Type="http://schemas.openxmlformats.org/officeDocument/2006/relationships/tags" Target="../tags/tag79.xml"/><Relationship Id="rId7" Type="http://schemas.openxmlformats.org/officeDocument/2006/relationships/image" Target="../media/image2.svg"/><Relationship Id="rId6" Type="http://schemas.openxmlformats.org/officeDocument/2006/relationships/image" Target="../media/image8.png"/><Relationship Id="rId5" Type="http://schemas.openxmlformats.org/officeDocument/2006/relationships/tags" Target="../tags/tag78.xml"/><Relationship Id="rId4" Type="http://schemas.openxmlformats.org/officeDocument/2006/relationships/image" Target="../media/image4.svg"/><Relationship Id="rId3" Type="http://schemas.openxmlformats.org/officeDocument/2006/relationships/image" Target="../media/image10.png"/><Relationship Id="rId2" Type="http://schemas.openxmlformats.org/officeDocument/2006/relationships/tags" Target="../tags/tag77.xml"/><Relationship Id="rId12" Type="http://schemas.openxmlformats.org/officeDocument/2006/relationships/tags" Target="../tags/tag81.xml"/><Relationship Id="rId11" Type="http://schemas.openxmlformats.org/officeDocument/2006/relationships/tags" Target="../tags/tag80.xml"/><Relationship Id="rId10" Type="http://schemas.openxmlformats.org/officeDocument/2006/relationships/image" Target="../media/image3.sv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7" Type="http://schemas.openxmlformats.org/officeDocument/2006/relationships/image" Target="../media/image3.svg"/><Relationship Id="rId6" Type="http://schemas.openxmlformats.org/officeDocument/2006/relationships/image" Target="../media/image9.png"/><Relationship Id="rId5" Type="http://schemas.openxmlformats.org/officeDocument/2006/relationships/tags" Target="../tags/tag83.xml"/><Relationship Id="rId4" Type="http://schemas.openxmlformats.org/officeDocument/2006/relationships/image" Target="../media/image2.svg"/><Relationship Id="rId3" Type="http://schemas.openxmlformats.org/officeDocument/2006/relationships/image" Target="../media/image8.png"/><Relationship Id="rId2" Type="http://schemas.openxmlformats.org/officeDocument/2006/relationships/tags" Target="../tags/tag82.xml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7" Type="http://schemas.openxmlformats.org/officeDocument/2006/relationships/image" Target="../media/image3.svg"/><Relationship Id="rId6" Type="http://schemas.openxmlformats.org/officeDocument/2006/relationships/image" Target="../media/image9.png"/><Relationship Id="rId5" Type="http://schemas.openxmlformats.org/officeDocument/2006/relationships/tags" Target="../tags/tag85.xml"/><Relationship Id="rId4" Type="http://schemas.openxmlformats.org/officeDocument/2006/relationships/image" Target="../media/image2.svg"/><Relationship Id="rId3" Type="http://schemas.openxmlformats.org/officeDocument/2006/relationships/image" Target="../media/image8.png"/><Relationship Id="rId2" Type="http://schemas.openxmlformats.org/officeDocument/2006/relationships/tags" Target="../tags/tag84.xml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7" Type="http://schemas.openxmlformats.org/officeDocument/2006/relationships/image" Target="../media/image2.svg"/><Relationship Id="rId6" Type="http://schemas.openxmlformats.org/officeDocument/2006/relationships/image" Target="../media/image8.png"/><Relationship Id="rId5" Type="http://schemas.openxmlformats.org/officeDocument/2006/relationships/tags" Target="../tags/tag87.xml"/><Relationship Id="rId4" Type="http://schemas.openxmlformats.org/officeDocument/2006/relationships/image" Target="../media/image4.svg"/><Relationship Id="rId3" Type="http://schemas.openxmlformats.org/officeDocument/2006/relationships/image" Target="../media/image10.png"/><Relationship Id="rId2" Type="http://schemas.openxmlformats.org/officeDocument/2006/relationships/tags" Target="../tags/tag86.xml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7" Type="http://schemas.openxmlformats.org/officeDocument/2006/relationships/image" Target="../media/image3.svg"/><Relationship Id="rId6" Type="http://schemas.openxmlformats.org/officeDocument/2006/relationships/image" Target="../media/image9.png"/><Relationship Id="rId5" Type="http://schemas.openxmlformats.org/officeDocument/2006/relationships/tags" Target="../tags/tag89.xml"/><Relationship Id="rId4" Type="http://schemas.openxmlformats.org/officeDocument/2006/relationships/image" Target="../media/image2.svg"/><Relationship Id="rId3" Type="http://schemas.openxmlformats.org/officeDocument/2006/relationships/image" Target="../media/image8.png"/><Relationship Id="rId2" Type="http://schemas.openxmlformats.org/officeDocument/2006/relationships/tags" Target="../tags/tag88.xml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7" Type="http://schemas.openxmlformats.org/officeDocument/2006/relationships/image" Target="../media/image3.svg"/><Relationship Id="rId6" Type="http://schemas.openxmlformats.org/officeDocument/2006/relationships/image" Target="../media/image9.png"/><Relationship Id="rId5" Type="http://schemas.openxmlformats.org/officeDocument/2006/relationships/tags" Target="../tags/tag91.xml"/><Relationship Id="rId4" Type="http://schemas.openxmlformats.org/officeDocument/2006/relationships/image" Target="../media/image2.svg"/><Relationship Id="rId3" Type="http://schemas.openxmlformats.org/officeDocument/2006/relationships/image" Target="../media/image8.png"/><Relationship Id="rId2" Type="http://schemas.openxmlformats.org/officeDocument/2006/relationships/tags" Target="../tags/tag90.xml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7" Type="http://schemas.openxmlformats.org/officeDocument/2006/relationships/image" Target="../media/image3.svg"/><Relationship Id="rId6" Type="http://schemas.openxmlformats.org/officeDocument/2006/relationships/image" Target="../media/image9.png"/><Relationship Id="rId5" Type="http://schemas.openxmlformats.org/officeDocument/2006/relationships/tags" Target="../tags/tag93.xml"/><Relationship Id="rId4" Type="http://schemas.openxmlformats.org/officeDocument/2006/relationships/image" Target="../media/image2.svg"/><Relationship Id="rId3" Type="http://schemas.openxmlformats.org/officeDocument/2006/relationships/image" Target="../media/image8.png"/><Relationship Id="rId2" Type="http://schemas.openxmlformats.org/officeDocument/2006/relationships/tags" Target="../tags/tag92.xml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5" Type="http://schemas.openxmlformats.org/officeDocument/2006/relationships/tags" Target="../tags/tag96.xml"/><Relationship Id="rId4" Type="http://schemas.openxmlformats.org/officeDocument/2006/relationships/tags" Target="../tags/tag95.xml"/><Relationship Id="rId3" Type="http://schemas.openxmlformats.org/officeDocument/2006/relationships/image" Target="../media/image7.png"/><Relationship Id="rId2" Type="http://schemas.openxmlformats.org/officeDocument/2006/relationships/tags" Target="../tags/tag94.xml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9" Type="http://schemas.openxmlformats.org/officeDocument/2006/relationships/tags" Target="../tags/tag100.xml"/><Relationship Id="rId8" Type="http://schemas.openxmlformats.org/officeDocument/2006/relationships/tags" Target="../tags/tag99.xml"/><Relationship Id="rId7" Type="http://schemas.openxmlformats.org/officeDocument/2006/relationships/image" Target="../media/image3.svg"/><Relationship Id="rId6" Type="http://schemas.openxmlformats.org/officeDocument/2006/relationships/image" Target="../media/image9.png"/><Relationship Id="rId5" Type="http://schemas.openxmlformats.org/officeDocument/2006/relationships/tags" Target="../tags/tag98.xml"/><Relationship Id="rId4" Type="http://schemas.openxmlformats.org/officeDocument/2006/relationships/image" Target="../media/image2.svg"/><Relationship Id="rId3" Type="http://schemas.openxmlformats.org/officeDocument/2006/relationships/image" Target="../media/image8.png"/><Relationship Id="rId2" Type="http://schemas.openxmlformats.org/officeDocument/2006/relationships/tags" Target="../tags/tag97.xml"/><Relationship Id="rId11" Type="http://schemas.openxmlformats.org/officeDocument/2006/relationships/tags" Target="../tags/tag102.xml"/><Relationship Id="rId10" Type="http://schemas.openxmlformats.org/officeDocument/2006/relationships/tags" Target="../tags/tag101.xml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9" Type="http://schemas.openxmlformats.org/officeDocument/2006/relationships/tags" Target="../tags/tag106.xml"/><Relationship Id="rId8" Type="http://schemas.openxmlformats.org/officeDocument/2006/relationships/image" Target="../media/image3.svg"/><Relationship Id="rId7" Type="http://schemas.openxmlformats.org/officeDocument/2006/relationships/image" Target="../media/image9.png"/><Relationship Id="rId6" Type="http://schemas.openxmlformats.org/officeDocument/2006/relationships/tags" Target="../tags/tag105.xml"/><Relationship Id="rId5" Type="http://schemas.openxmlformats.org/officeDocument/2006/relationships/image" Target="../media/image2.svg"/><Relationship Id="rId4" Type="http://schemas.openxmlformats.org/officeDocument/2006/relationships/image" Target="../media/image8.png"/><Relationship Id="rId3" Type="http://schemas.openxmlformats.org/officeDocument/2006/relationships/tags" Target="../tags/tag104.xml"/><Relationship Id="rId2" Type="http://schemas.openxmlformats.org/officeDocument/2006/relationships/tags" Target="../tags/tag103.xml"/><Relationship Id="rId13" Type="http://schemas.openxmlformats.org/officeDocument/2006/relationships/tags" Target="../tags/tag110.xml"/><Relationship Id="rId12" Type="http://schemas.openxmlformats.org/officeDocument/2006/relationships/tags" Target="../tags/tag109.xml"/><Relationship Id="rId11" Type="http://schemas.openxmlformats.org/officeDocument/2006/relationships/tags" Target="../tags/tag108.xml"/><Relationship Id="rId10" Type="http://schemas.openxmlformats.org/officeDocument/2006/relationships/tags" Target="../tags/tag107.xml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9" Type="http://schemas.openxmlformats.org/officeDocument/2006/relationships/tags" Target="../tags/tag114.xml"/><Relationship Id="rId8" Type="http://schemas.openxmlformats.org/officeDocument/2006/relationships/image" Target="../media/image3.svg"/><Relationship Id="rId7" Type="http://schemas.openxmlformats.org/officeDocument/2006/relationships/image" Target="../media/image9.png"/><Relationship Id="rId6" Type="http://schemas.openxmlformats.org/officeDocument/2006/relationships/tags" Target="../tags/tag113.xml"/><Relationship Id="rId5" Type="http://schemas.openxmlformats.org/officeDocument/2006/relationships/image" Target="../media/image2.svg"/><Relationship Id="rId4" Type="http://schemas.openxmlformats.org/officeDocument/2006/relationships/image" Target="../media/image8.png"/><Relationship Id="rId3" Type="http://schemas.openxmlformats.org/officeDocument/2006/relationships/tags" Target="../tags/tag112.xml"/><Relationship Id="rId2" Type="http://schemas.openxmlformats.org/officeDocument/2006/relationships/tags" Target="../tags/tag111.xml"/><Relationship Id="rId14" Type="http://schemas.openxmlformats.org/officeDocument/2006/relationships/tags" Target="../tags/tag119.xml"/><Relationship Id="rId13" Type="http://schemas.openxmlformats.org/officeDocument/2006/relationships/tags" Target="../tags/tag118.xml"/><Relationship Id="rId12" Type="http://schemas.openxmlformats.org/officeDocument/2006/relationships/tags" Target="../tags/tag117.xml"/><Relationship Id="rId11" Type="http://schemas.openxmlformats.org/officeDocument/2006/relationships/tags" Target="../tags/tag116.xml"/><Relationship Id="rId10" Type="http://schemas.openxmlformats.org/officeDocument/2006/relationships/tags" Target="../tags/tag115.xml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9" Type="http://schemas.openxmlformats.org/officeDocument/2006/relationships/tags" Target="../tags/tag123.xml"/><Relationship Id="rId8" Type="http://schemas.openxmlformats.org/officeDocument/2006/relationships/image" Target="../media/image3.svg"/><Relationship Id="rId7" Type="http://schemas.openxmlformats.org/officeDocument/2006/relationships/image" Target="../media/image9.png"/><Relationship Id="rId6" Type="http://schemas.openxmlformats.org/officeDocument/2006/relationships/tags" Target="../tags/tag122.xml"/><Relationship Id="rId5" Type="http://schemas.openxmlformats.org/officeDocument/2006/relationships/image" Target="../media/image2.svg"/><Relationship Id="rId4" Type="http://schemas.openxmlformats.org/officeDocument/2006/relationships/image" Target="../media/image8.png"/><Relationship Id="rId3" Type="http://schemas.openxmlformats.org/officeDocument/2006/relationships/tags" Target="../tags/tag121.xml"/><Relationship Id="rId2" Type="http://schemas.openxmlformats.org/officeDocument/2006/relationships/tags" Target="../tags/tag120.xml"/><Relationship Id="rId14" Type="http://schemas.openxmlformats.org/officeDocument/2006/relationships/tags" Target="../tags/tag128.xml"/><Relationship Id="rId13" Type="http://schemas.openxmlformats.org/officeDocument/2006/relationships/tags" Target="../tags/tag127.xml"/><Relationship Id="rId12" Type="http://schemas.openxmlformats.org/officeDocument/2006/relationships/tags" Target="../tags/tag126.xml"/><Relationship Id="rId11" Type="http://schemas.openxmlformats.org/officeDocument/2006/relationships/tags" Target="../tags/tag125.xml"/><Relationship Id="rId10" Type="http://schemas.openxmlformats.org/officeDocument/2006/relationships/tags" Target="../tags/tag124.xml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9" Type="http://schemas.openxmlformats.org/officeDocument/2006/relationships/tags" Target="../tags/tag132.xml"/><Relationship Id="rId8" Type="http://schemas.openxmlformats.org/officeDocument/2006/relationships/image" Target="../media/image3.svg"/><Relationship Id="rId7" Type="http://schemas.openxmlformats.org/officeDocument/2006/relationships/image" Target="../media/image9.png"/><Relationship Id="rId6" Type="http://schemas.openxmlformats.org/officeDocument/2006/relationships/tags" Target="../tags/tag131.xml"/><Relationship Id="rId5" Type="http://schemas.openxmlformats.org/officeDocument/2006/relationships/image" Target="../media/image2.svg"/><Relationship Id="rId4" Type="http://schemas.openxmlformats.org/officeDocument/2006/relationships/image" Target="../media/image8.png"/><Relationship Id="rId3" Type="http://schemas.openxmlformats.org/officeDocument/2006/relationships/tags" Target="../tags/tag130.xml"/><Relationship Id="rId2" Type="http://schemas.openxmlformats.org/officeDocument/2006/relationships/tags" Target="../tags/tag129.xml"/><Relationship Id="rId14" Type="http://schemas.openxmlformats.org/officeDocument/2006/relationships/tags" Target="../tags/tag137.xml"/><Relationship Id="rId13" Type="http://schemas.openxmlformats.org/officeDocument/2006/relationships/tags" Target="../tags/tag136.xml"/><Relationship Id="rId12" Type="http://schemas.openxmlformats.org/officeDocument/2006/relationships/tags" Target="../tags/tag135.xml"/><Relationship Id="rId11" Type="http://schemas.openxmlformats.org/officeDocument/2006/relationships/tags" Target="../tags/tag134.xml"/><Relationship Id="rId10" Type="http://schemas.openxmlformats.org/officeDocument/2006/relationships/tags" Target="../tags/tag133.xml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9" Type="http://schemas.openxmlformats.org/officeDocument/2006/relationships/tags" Target="../tags/tag141.xml"/><Relationship Id="rId8" Type="http://schemas.openxmlformats.org/officeDocument/2006/relationships/image" Target="../media/image3.svg"/><Relationship Id="rId7" Type="http://schemas.openxmlformats.org/officeDocument/2006/relationships/image" Target="../media/image9.png"/><Relationship Id="rId6" Type="http://schemas.openxmlformats.org/officeDocument/2006/relationships/tags" Target="../tags/tag140.xml"/><Relationship Id="rId5" Type="http://schemas.openxmlformats.org/officeDocument/2006/relationships/image" Target="../media/image2.svg"/><Relationship Id="rId4" Type="http://schemas.openxmlformats.org/officeDocument/2006/relationships/image" Target="../media/image8.png"/><Relationship Id="rId3" Type="http://schemas.openxmlformats.org/officeDocument/2006/relationships/tags" Target="../tags/tag139.xml"/><Relationship Id="rId2" Type="http://schemas.openxmlformats.org/officeDocument/2006/relationships/tags" Target="../tags/tag138.xml"/><Relationship Id="rId16" Type="http://schemas.openxmlformats.org/officeDocument/2006/relationships/tags" Target="../tags/tag148.xml"/><Relationship Id="rId15" Type="http://schemas.openxmlformats.org/officeDocument/2006/relationships/tags" Target="../tags/tag147.xml"/><Relationship Id="rId14" Type="http://schemas.openxmlformats.org/officeDocument/2006/relationships/tags" Target="../tags/tag146.xml"/><Relationship Id="rId13" Type="http://schemas.openxmlformats.org/officeDocument/2006/relationships/tags" Target="../tags/tag145.xml"/><Relationship Id="rId12" Type="http://schemas.openxmlformats.org/officeDocument/2006/relationships/tags" Target="../tags/tag144.xml"/><Relationship Id="rId11" Type="http://schemas.openxmlformats.org/officeDocument/2006/relationships/tags" Target="../tags/tag143.xml"/><Relationship Id="rId10" Type="http://schemas.openxmlformats.org/officeDocument/2006/relationships/tags" Target="../tags/tag142.xml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9" Type="http://schemas.openxmlformats.org/officeDocument/2006/relationships/tags" Target="../tags/tag152.xml"/><Relationship Id="rId8" Type="http://schemas.openxmlformats.org/officeDocument/2006/relationships/image" Target="../media/image3.svg"/><Relationship Id="rId7" Type="http://schemas.openxmlformats.org/officeDocument/2006/relationships/image" Target="../media/image9.png"/><Relationship Id="rId6" Type="http://schemas.openxmlformats.org/officeDocument/2006/relationships/tags" Target="../tags/tag151.xml"/><Relationship Id="rId5" Type="http://schemas.openxmlformats.org/officeDocument/2006/relationships/image" Target="../media/image2.svg"/><Relationship Id="rId4" Type="http://schemas.openxmlformats.org/officeDocument/2006/relationships/image" Target="../media/image8.png"/><Relationship Id="rId3" Type="http://schemas.openxmlformats.org/officeDocument/2006/relationships/tags" Target="../tags/tag150.xml"/><Relationship Id="rId2" Type="http://schemas.openxmlformats.org/officeDocument/2006/relationships/tags" Target="../tags/tag149.xml"/><Relationship Id="rId13" Type="http://schemas.openxmlformats.org/officeDocument/2006/relationships/tags" Target="../tags/tag156.xml"/><Relationship Id="rId12" Type="http://schemas.openxmlformats.org/officeDocument/2006/relationships/tags" Target="../tags/tag155.xml"/><Relationship Id="rId11" Type="http://schemas.openxmlformats.org/officeDocument/2006/relationships/tags" Target="../tags/tag154.xml"/><Relationship Id="rId10" Type="http://schemas.openxmlformats.org/officeDocument/2006/relationships/tags" Target="../tags/tag153.xml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5" Type="http://schemas.openxmlformats.org/officeDocument/2006/relationships/tags" Target="../tags/tag3.xml"/><Relationship Id="rId4" Type="http://schemas.openxmlformats.org/officeDocument/2006/relationships/tags" Target="../tags/tag2.xml"/><Relationship Id="rId3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4" Type="http://schemas.openxmlformats.org/officeDocument/2006/relationships/tags" Target="../tags/tag6.xml"/><Relationship Id="rId3" Type="http://schemas.openxmlformats.org/officeDocument/2006/relationships/image" Target="../media/image4.jpeg"/><Relationship Id="rId2" Type="http://schemas.openxmlformats.org/officeDocument/2006/relationships/tags" Target="../tags/tag5.xml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形 5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801" name="副标题 9800"/>
          <p:cNvSpPr>
            <a:spLocks noGrp="1"/>
          </p:cNvSpPr>
          <p:nvPr userDrawn="1">
            <p:ph type="subTitle" idx="1"/>
          </p:nvPr>
        </p:nvSpPr>
        <p:spPr>
          <a:xfrm>
            <a:off x="1041399" y="5633743"/>
            <a:ext cx="7175501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rgbClr val="3F82C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/>
          </p:nvPr>
        </p:nvSpPr>
        <p:spPr>
          <a:xfrm>
            <a:off x="1041399" y="3086100"/>
            <a:ext cx="7175501" cy="2237785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rgbClr val="3F82C4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331199" y="3086100"/>
            <a:ext cx="2565401" cy="245363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8331199" y="3382371"/>
            <a:ext cx="2565401" cy="245363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1041399" y="5511167"/>
            <a:ext cx="7175501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图形用户界面, 文本, 应用程序&#10;&#10;描述已自动生成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-37" y="0"/>
            <a:ext cx="12192075" cy="685800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882" y="443234"/>
            <a:ext cx="10852237" cy="441964"/>
          </a:xfrm>
        </p:spPr>
        <p:txBody>
          <a:bodyPr vert="horz" lIns="90170" tIns="46990" rIns="90170" bIns="46990" rtlCol="0" anchor="ctr" anchorCtr="0">
            <a:noAutofit/>
          </a:bodyPr>
          <a:lstStyle>
            <a:lvl1pPr marL="0" marR="0" lvl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2400" b="1" i="0" u="none" strike="noStrike" kern="1200" cap="none" spc="20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汉仪粗简黑简" charset="0"/>
                <a:cs typeface="+mj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母版标题样式</a:t>
            </a:r>
            <a:endParaRPr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69930" y="952508"/>
            <a:ext cx="5283242" cy="5388907"/>
          </a:xfrm>
        </p:spPr>
        <p:txBody>
          <a:bodyPr vert="horz" lIns="90170" tIns="46990" rIns="90170" bIns="46990" rtlCol="0">
            <a:norm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汉仪粗简黑简" charset="0"/>
                <a:cs typeface="+mn-cs"/>
                <a:sym typeface="+mn-ea"/>
              </a:defRPr>
            </a:lvl1pPr>
            <a:lvl2pPr marL="685800" marR="0" lvl="1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1609725" algn="l"/>
              </a:tabLst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汉仪粗简黑简" charset="0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汉仪粗简黑简" charset="0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汉仪粗简黑简" charset="0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汉仪粗简黑简" charset="0"/>
                <a:cs typeface="+mn-cs"/>
                <a:sym typeface="+mn-ea"/>
              </a:defRPr>
            </a:lvl5pPr>
          </a:lstStyle>
          <a:p>
            <a:pPr lvl="0"/>
            <a:r>
              <a:rPr>
                <a:sym typeface="+mn-ea"/>
              </a:rPr>
              <a:t>单击此处编辑母版文本样式</a:t>
            </a:r>
            <a:endParaRPr>
              <a:sym typeface="+mn-ea"/>
            </a:endParaRPr>
          </a:p>
          <a:p>
            <a:pPr lvl="1"/>
            <a:r>
              <a:rPr>
                <a:sym typeface="+mn-ea"/>
              </a:rPr>
              <a:t>第二级</a:t>
            </a:r>
            <a:endParaRPr>
              <a:sym typeface="+mn-ea"/>
            </a:endParaRPr>
          </a:p>
          <a:p>
            <a:pPr lvl="2"/>
            <a:r>
              <a:rPr>
                <a:sym typeface="+mn-ea"/>
              </a:rPr>
              <a:t>第三级</a:t>
            </a:r>
            <a:endParaRPr>
              <a:sym typeface="+mn-ea"/>
            </a:endParaRPr>
          </a:p>
          <a:p>
            <a:pPr lvl="3"/>
            <a:r>
              <a:rPr>
                <a:sym typeface="+mn-ea"/>
              </a:rPr>
              <a:t>第四级</a:t>
            </a:r>
            <a:endParaRPr>
              <a:sym typeface="+mn-ea"/>
            </a:endParaRPr>
          </a:p>
          <a:p>
            <a:pPr lvl="4"/>
            <a:r>
              <a:rPr>
                <a:sym typeface="+mn-ea"/>
              </a:rPr>
              <a:t>第五级</a:t>
            </a:r>
            <a:endParaRPr>
              <a:sym typeface="+mn-ea"/>
            </a:endParaRP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38877" y="952508"/>
            <a:ext cx="5283242" cy="5388907"/>
          </a:xfrm>
        </p:spPr>
        <p:txBody>
          <a:bodyPr lIns="90170" tIns="46990" rIns="90170" bIns="46990">
            <a:normAutofit/>
          </a:bodyPr>
          <a:lstStyle>
            <a:lvl1pPr eaLnBrk="1" fontAlgn="auto" latinLnBrk="0" hangingPunct="1">
              <a:defRPr sz="160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1pPr>
            <a:lvl2pPr eaLnBrk="1" fontAlgn="auto" latinLnBrk="0" hangingPunct="1">
              <a:defRPr sz="160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2pPr>
            <a:lvl3pPr eaLnBrk="1" fontAlgn="auto" latinLnBrk="0" hangingPunct="1">
              <a:defRPr sz="160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3pPr>
            <a:lvl4pPr eaLnBrk="1" fontAlgn="auto" latinLnBrk="0" hangingPunct="1">
              <a:defRPr sz="160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4pPr>
            <a:lvl5pPr eaLnBrk="1" fontAlgn="auto" latinLnBrk="0" hangingPunct="1">
              <a:defRPr sz="160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 descr="图形用户界面, 文本, 应用程序&#10;&#10;描述已自动生成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-37" y="0"/>
            <a:ext cx="12192075" cy="685800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882" y="443234"/>
            <a:ext cx="10852237" cy="441964"/>
          </a:xfrm>
        </p:spPr>
        <p:txBody>
          <a:bodyPr vert="horz" lIns="90170" tIns="46990" rIns="90170" bIns="46990" rtlCol="0" anchor="ctr" anchorCtr="0">
            <a:noAutofit/>
          </a:bodyPr>
          <a:lstStyle>
            <a:lvl1pPr marL="0" marR="0" lvl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2400" b="1" i="0" u="none" strike="noStrike" kern="1200" cap="none" spc="20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汉仪粗简黑简" charset="0"/>
                <a:cs typeface="+mj-cs"/>
                <a:sym typeface="+mn-ea"/>
              </a:defRPr>
            </a:lvl1pPr>
          </a:lstStyle>
          <a:p>
            <a:pPr lvl="0"/>
            <a:r>
              <a:rPr dirty="0">
                <a:sym typeface="+mn-ea"/>
              </a:rPr>
              <a:t>单击此处编辑母版标题样式</a:t>
            </a:r>
            <a:endParaRPr dirty="0">
              <a:sym typeface="+mn-ea"/>
            </a:endParaRP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669930" y="952508"/>
            <a:ext cx="5283242" cy="381003"/>
          </a:xfrm>
        </p:spPr>
        <p:txBody>
          <a:bodyPr lIns="90170" tIns="46990" rIns="90170" bIns="46990" anchor="ctr" anchorCtr="0">
            <a:noAutofit/>
          </a:bodyPr>
          <a:lstStyle>
            <a:lvl1pPr marL="0" indent="0" eaLnBrk="1" fontAlgn="auto" latinLnBrk="0" hangingPunct="1">
              <a:lnSpc>
                <a:spcPct val="100000"/>
              </a:lnSpc>
              <a:spcAft>
                <a:spcPts val="0"/>
              </a:spcAft>
              <a:buNone/>
              <a:defRPr sz="2000" b="0" u="none" strike="noStrike" kern="1200" cap="none" spc="200" normalizeH="0" baseline="0">
                <a:solidFill>
                  <a:schemeClr val="tx1"/>
                </a:solidFill>
                <a:uFillTx/>
                <a:latin typeface="Arial" panose="020B0604020202020204" pitchFamily="34" charset="0"/>
                <a:ea typeface="汉仪粗简黑简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文本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69925" y="1406525"/>
            <a:ext cx="5283200" cy="4934752"/>
          </a:xfrm>
        </p:spPr>
        <p:txBody>
          <a:bodyPr vert="horz" lIns="90170" tIns="46990" rIns="90170" bIns="46990" rtlCol="0">
            <a:norm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汉仪粗简黑简" charset="0"/>
                <a:cs typeface="+mn-cs"/>
                <a:sym typeface="+mn-ea"/>
              </a:defRPr>
            </a:lvl1pPr>
            <a:lvl2pPr marL="685800" marR="0" lvl="1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1609725" algn="l"/>
              </a:tabLst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汉仪粗简黑简" charset="0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汉仪粗简黑简" charset="0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汉仪粗简黑简" charset="0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汉仪粗简黑简" charset="0"/>
                <a:cs typeface="+mn-cs"/>
                <a:sym typeface="+mn-ea"/>
              </a:defRPr>
            </a:lvl5pPr>
          </a:lstStyle>
          <a:p>
            <a:pPr lvl="0"/>
            <a:r>
              <a:rPr dirty="0">
                <a:sym typeface="+mn-ea"/>
              </a:rPr>
              <a:t>单击此处编辑母版文本样式</a:t>
            </a:r>
            <a:endParaRPr dirty="0">
              <a:sym typeface="+mn-ea"/>
            </a:endParaRPr>
          </a:p>
          <a:p>
            <a:pPr lvl="1"/>
            <a:r>
              <a:rPr dirty="0">
                <a:sym typeface="+mn-ea"/>
              </a:rPr>
              <a:t>第二级</a:t>
            </a:r>
            <a:endParaRPr dirty="0">
              <a:sym typeface="+mn-ea"/>
            </a:endParaRPr>
          </a:p>
          <a:p>
            <a:pPr lvl="2"/>
            <a:r>
              <a:rPr dirty="0">
                <a:sym typeface="+mn-ea"/>
              </a:rPr>
              <a:t>第三级</a:t>
            </a:r>
            <a:endParaRPr dirty="0">
              <a:sym typeface="+mn-ea"/>
            </a:endParaRPr>
          </a:p>
          <a:p>
            <a:pPr lvl="3"/>
            <a:r>
              <a:rPr dirty="0">
                <a:sym typeface="+mn-ea"/>
              </a:rPr>
              <a:t>第四级</a:t>
            </a:r>
            <a:endParaRPr dirty="0">
              <a:sym typeface="+mn-ea"/>
            </a:endParaRPr>
          </a:p>
          <a:p>
            <a:pPr lvl="4"/>
            <a:r>
              <a:rPr dirty="0">
                <a:sym typeface="+mn-ea"/>
              </a:rPr>
              <a:t>第五级</a:t>
            </a:r>
            <a:endParaRPr dirty="0">
              <a:sym typeface="+mn-ea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 hasCustomPrompt="1"/>
          </p:nvPr>
        </p:nvSpPr>
        <p:spPr>
          <a:xfrm>
            <a:off x="6235750" y="952508"/>
            <a:ext cx="5283242" cy="381003"/>
          </a:xfrm>
        </p:spPr>
        <p:txBody>
          <a:bodyPr vert="horz" lIns="90170" tIns="46990" rIns="90170" bIns="46990" rtlCol="0" anchor="ctr" anchorCtr="0">
            <a:noAutofit/>
          </a:bodyPr>
          <a:lstStyle>
            <a:lvl1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kumimoji="0" lang="zh-CN" altLang="en-US" sz="2000" b="0" i="0" u="none" strike="noStrike" kern="1200" cap="none" spc="20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汉仪粗简黑简" charset="0"/>
                <a:cs typeface="+mn-cs"/>
                <a:sym typeface="+mn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>
                <a:sym typeface="+mn-ea"/>
              </a:rPr>
              <a:t>单击此处编辑文本</a:t>
            </a:r>
            <a:endParaRPr>
              <a:sym typeface="+mn-ea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35750" y="1406525"/>
            <a:ext cx="5283242" cy="4934752"/>
          </a:xfrm>
        </p:spPr>
        <p:txBody>
          <a:bodyPr vert="horz" lIns="90170" tIns="46990" rIns="90170" bIns="46990" rtlCol="0">
            <a:norm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汉仪粗简黑简" charset="0"/>
                <a:cs typeface="+mn-cs"/>
                <a:sym typeface="+mn-ea"/>
              </a:defRPr>
            </a:lvl1pPr>
            <a:lvl2pPr marL="685800" marR="0" lvl="1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1609725" algn="l"/>
              </a:tabLst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汉仪粗简黑简" charset="0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汉仪粗简黑简" charset="0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汉仪粗简黑简" charset="0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汉仪粗简黑简" charset="0"/>
                <a:cs typeface="+mn-cs"/>
                <a:sym typeface="+mn-ea"/>
              </a:defRPr>
            </a:lvl5pPr>
          </a:lstStyle>
          <a:p>
            <a:pPr lvl="0"/>
            <a:r>
              <a:rPr dirty="0">
                <a:sym typeface="+mn-ea"/>
              </a:rPr>
              <a:t>单击此处编辑母版文本样式</a:t>
            </a:r>
            <a:endParaRPr dirty="0">
              <a:sym typeface="+mn-ea"/>
            </a:endParaRPr>
          </a:p>
          <a:p>
            <a:pPr lvl="1"/>
            <a:r>
              <a:rPr dirty="0">
                <a:sym typeface="+mn-ea"/>
              </a:rPr>
              <a:t>第二级</a:t>
            </a:r>
            <a:endParaRPr dirty="0">
              <a:sym typeface="+mn-ea"/>
            </a:endParaRPr>
          </a:p>
          <a:p>
            <a:pPr lvl="2"/>
            <a:r>
              <a:rPr dirty="0">
                <a:sym typeface="+mn-ea"/>
              </a:rPr>
              <a:t>第三级</a:t>
            </a:r>
            <a:endParaRPr dirty="0">
              <a:sym typeface="+mn-ea"/>
            </a:endParaRPr>
          </a:p>
          <a:p>
            <a:pPr lvl="3"/>
            <a:r>
              <a:rPr dirty="0">
                <a:sym typeface="+mn-ea"/>
              </a:rPr>
              <a:t>第四级</a:t>
            </a:r>
            <a:endParaRPr dirty="0">
              <a:sym typeface="+mn-ea"/>
            </a:endParaRPr>
          </a:p>
          <a:p>
            <a:pPr lvl="4"/>
            <a:r>
              <a:rPr dirty="0">
                <a:sym typeface="+mn-ea"/>
              </a:rPr>
              <a:t>第五级</a:t>
            </a:r>
            <a:endParaRPr dirty="0">
              <a:sym typeface="+mn-ea"/>
            </a:endParaRP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 descr="图表&#10;&#10;描述已自动生成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-37" y="0"/>
            <a:ext cx="12192075" cy="685800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vert="horz" lIns="90170" tIns="46990" rIns="90170" bIns="46990" rtlCol="0" anchor="ctr" anchorCtr="0">
            <a:noAutofit/>
          </a:bodyPr>
          <a:lstStyle>
            <a:lvl1pPr marL="0" marR="0" lvl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2400" b="1" i="0" u="none" strike="noStrike" kern="1200" cap="none" spc="20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汉仪粗简黑简" charset="0"/>
                <a:cs typeface="+mj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母版标题样式</a:t>
            </a:r>
            <a:endParaRPr>
              <a:sym typeface="+mn-ea"/>
            </a:endParaRP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图形用户界面, 文本, 应用程序&#10;&#10;描述已自动生成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-37" y="0"/>
            <a:ext cx="12192075" cy="685800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30" y="443234"/>
            <a:ext cx="10852237" cy="441964"/>
          </a:xfrm>
        </p:spPr>
        <p:txBody>
          <a:bodyPr vert="horz" lIns="90170" tIns="46990" rIns="90170" bIns="46990" rtlCol="0" anchor="ctr" anchorCtr="0">
            <a:noAutofit/>
          </a:bodyPr>
          <a:lstStyle>
            <a:lvl1pPr marL="0" marR="0" lvl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2400" b="1" i="0" u="none" strike="noStrike" kern="1200" cap="none" spc="20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汉仪粗简黑简" charset="0"/>
                <a:cs typeface="+mj-cs"/>
                <a:sym typeface="+mn-ea"/>
              </a:defRPr>
            </a:lvl1pPr>
          </a:lstStyle>
          <a:p>
            <a:pPr lvl="0"/>
            <a:r>
              <a:rPr dirty="0">
                <a:sym typeface="+mn-ea"/>
              </a:rPr>
              <a:t>单击此处编辑母版标题样式</a:t>
            </a:r>
            <a:endParaRPr dirty="0">
              <a:sym typeface="+mn-ea"/>
            </a:endParaRP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669930" y="952508"/>
            <a:ext cx="5283242" cy="5388907"/>
          </a:xfrm>
        </p:spPr>
        <p:txBody>
          <a:bodyPr vert="horz" lIns="90170" tIns="46990" rIns="90170" bIns="46990" rtlCol="0">
            <a:normAutofit/>
          </a:bodyPr>
          <a:lstStyle>
            <a:lvl1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汉仪粗简黑简" charset="0"/>
                <a:cs typeface="汉仪粗简黑简" charset="0"/>
                <a:sym typeface="+mn-ea"/>
              </a:defRPr>
            </a:lvl1pPr>
            <a:lvl2pPr marL="685800" marR="0" lvl="1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1609725" algn="l"/>
              </a:tabLst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5pPr>
          </a:lstStyle>
          <a:p>
            <a:pPr lvl="0"/>
            <a:endParaRPr dirty="0">
              <a:sym typeface="+mn-ea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38925" y="952508"/>
            <a:ext cx="5283242" cy="5388907"/>
          </a:xfrm>
        </p:spPr>
        <p:txBody>
          <a:bodyPr vert="horz" lIns="90170" tIns="46990" rIns="90170" bIns="46990" rtlCol="0">
            <a:norm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汉仪粗简黑简" charset="0"/>
                <a:cs typeface="+mn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母版文本样式</a:t>
            </a:r>
            <a:endParaRPr>
              <a:sym typeface="+mn-ea"/>
            </a:endParaRP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fld id="{9EFD9D74-47D9-4702-A33C-335B63B48DBF}" type="datetimeFigureOut">
              <a:rPr lang="zh-CN" altLang="en-US" smtClean="0"/>
            </a:fld>
            <a:endParaRPr lang="zh-CN" altLang="en-US" dirty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fld id="{FABC47A4-756D-490B-A52F-7D9E2C9FC05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图形用户界面, 文本, 应用程序&#10;&#10;描述已自动生成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-37" y="0"/>
            <a:ext cx="12192075" cy="6858000"/>
          </a:xfrm>
          <a:prstGeom prst="rect">
            <a:avLst/>
          </a:prstGeom>
        </p:spPr>
      </p:pic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0571135" y="952508"/>
            <a:ext cx="950984" cy="5388907"/>
          </a:xfrm>
        </p:spPr>
        <p:txBody>
          <a:bodyPr vert="eaVert" lIns="90170" tIns="46990" rIns="90170" bIns="46990" rtlCol="0" anchor="ctr" anchorCtr="0">
            <a:noAutofit/>
          </a:bodyPr>
          <a:lstStyle>
            <a:lvl1pPr marL="0" marR="0" lvl="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None/>
              <a:defRPr kumimoji="0" lang="zh-CN" altLang="en-US" sz="2400" b="1" i="0" u="none" strike="noStrike" kern="1200" cap="none" spc="20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汉仪粗简黑简" charset="0"/>
                <a:cs typeface="+mj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母版标题样式</a:t>
            </a:r>
            <a:endParaRPr>
              <a:sym typeface="+mn-ea"/>
            </a:endParaRP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69925" y="952500"/>
            <a:ext cx="9828101" cy="5388907"/>
          </a:xfrm>
        </p:spPr>
        <p:txBody>
          <a:bodyPr vert="eaVert"/>
          <a:lstStyle>
            <a:lvl1pPr indent="0" eaLnBrk="1" fontAlgn="auto" latinLnBrk="0" hangingPunct="1">
              <a:defRPr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1pPr>
            <a:lvl2pPr indent="0" eaLnBrk="1" fontAlgn="auto" latinLnBrk="0" hangingPunct="1">
              <a:defRPr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2pPr>
            <a:lvl3pPr indent="0" eaLnBrk="1" fontAlgn="auto" latinLnBrk="0" hangingPunct="1">
              <a:defRPr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3pPr>
            <a:lvl4pPr indent="0" eaLnBrk="1" fontAlgn="auto" latinLnBrk="0" hangingPunct="1">
              <a:defRPr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4pPr>
            <a:lvl5pPr indent="0" eaLnBrk="1" fontAlgn="auto" latinLnBrk="0" hangingPunct="1">
              <a:defRPr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图形用户界面, 文本, 应用程序&#10;&#10;描述已自动生成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-37" y="0"/>
            <a:ext cx="12192075" cy="6858000"/>
          </a:xfrm>
          <a:prstGeom prst="rect">
            <a:avLst/>
          </a:prstGeom>
        </p:spPr>
      </p:pic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</p:nvPr>
        </p:nvSpPr>
        <p:spPr>
          <a:xfrm>
            <a:off x="669930" y="952508"/>
            <a:ext cx="10852237" cy="5388907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背景图案&#10;&#10;描述已自动生成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-37" y="0"/>
            <a:ext cx="12192075" cy="6858000"/>
          </a:xfrm>
          <a:prstGeom prst="rect">
            <a:avLst/>
          </a:prstGeom>
        </p:spPr>
      </p:pic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6" name="标题 2"/>
          <p:cNvSpPr/>
          <p:nvPr>
            <p:ph type="title" idx="1" hasCustomPrompt="1"/>
            <p:custDataLst>
              <p:tags r:id="rId4"/>
            </p:custDataLst>
          </p:nvPr>
        </p:nvSpPr>
        <p:spPr>
          <a:xfrm>
            <a:off x="2153285" y="2343451"/>
            <a:ext cx="7885836" cy="1626893"/>
          </a:xfrm>
          <a:noFill/>
        </p:spPr>
        <p:txBody>
          <a:bodyPr vert="horz" wrap="square" lIns="0" tIns="0" rIns="0" bIns="0" rtlCol="0" anchor="ctr" anchorCtr="0">
            <a:normAutofit/>
          </a:bodyPr>
          <a:lstStyle>
            <a:lvl1pPr marL="0" marR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lang="zh-CN" altLang="en-US" sz="9800" b="0" i="0" u="none" strike="noStrike" kern="0" cap="none" spc="0" normalizeH="0" baseline="0" noProof="1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ea typeface="汉仪粗黑 简" charset="0"/>
                <a:cs typeface="汉仪粗黑 简" charset="0"/>
              </a:defRPr>
            </a:lvl1pPr>
          </a:lstStyle>
          <a:p>
            <a:pPr lvl="0"/>
            <a:r>
              <a:rPr>
                <a:sym typeface="+mn-ea"/>
              </a:rPr>
              <a:t>编辑标题</a:t>
            </a:r>
            <a:endParaRPr>
              <a:sym typeface="+mn-ea"/>
            </a:endParaRPr>
          </a:p>
        </p:txBody>
      </p:sp>
      <p:sp>
        <p:nvSpPr>
          <p:cNvPr id="7" name="文本占位符 3"/>
          <p:cNvSpPr/>
          <p:nvPr>
            <p:ph type="body" idx="2" hasCustomPrompt="1"/>
            <p:custDataLst>
              <p:tags r:id="rId5"/>
            </p:custDataLst>
          </p:nvPr>
        </p:nvSpPr>
        <p:spPr>
          <a:xfrm>
            <a:off x="7181131" y="3994323"/>
            <a:ext cx="2222121" cy="489613"/>
          </a:xfrm>
          <a:noFill/>
        </p:spPr>
        <p:txBody>
          <a:bodyPr vert="horz" wrap="square" lIns="0" tIns="0" rIns="0" bIns="0" rtlCol="0" anchor="ctr">
            <a:normAutofit/>
          </a:bodyPr>
          <a:lstStyle>
            <a:lvl1pPr marL="0" marR="0" indent="-22860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lang="zh-CN" altLang="en-US" sz="3100" b="0" i="0" u="none" strike="noStrike" kern="0" cap="none" spc="300" normalizeH="0" baseline="0" noProof="1" dirty="0">
                <a:ln>
                  <a:noFill/>
                </a:ln>
                <a:solidFill>
                  <a:schemeClr val="dk1">
                    <a:lumMod val="85000"/>
                    <a:lumOff val="15000"/>
                  </a:schemeClr>
                </a:solidFill>
                <a:effectLst/>
                <a:uFillTx/>
                <a:latin typeface="Arial" panose="020B0604020202020204" pitchFamily="34" charset="0"/>
                <a:ea typeface="汉仪粗简黑简" charset="0"/>
                <a:cs typeface="+mj-cs"/>
                <a:sym typeface="+mn-ea"/>
              </a:defRPr>
            </a:lvl1pPr>
            <a:lvl2pPr marL="68580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1609725" algn="l"/>
              </a:tabLst>
              <a:defRPr sz="1600" u="none" strike="noStrike" kern="1200" cap="none" spc="150" normalizeH="0" baseline="0">
                <a:solidFill>
                  <a:schemeClr val="tx1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600" u="none" strike="noStrike" kern="1200" cap="none" spc="150" normalizeH="0" baseline="0">
                <a:solidFill>
                  <a:schemeClr val="tx1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600" u="none" strike="noStrike" kern="1200" cap="none" spc="150" normalizeH="0" baseline="0">
                <a:solidFill>
                  <a:schemeClr val="tx1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600" u="none" strike="noStrike" kern="1200" cap="none" spc="150" normalizeH="0" baseline="0">
                <a:solidFill>
                  <a:schemeClr val="tx1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>
                <a:sym typeface="+mn-ea"/>
              </a:rPr>
              <a:t>单击此处编辑副标题</a:t>
            </a:r>
            <a:endParaRPr>
              <a:sym typeface="+mn-ea"/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通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 descr="图形用户界面, 文本, 应用程序&#10;&#10;描述已自动生成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-37" y="0"/>
            <a:ext cx="12192075" cy="685800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7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fld id="{49AE70B2-8BF9-45C0-BB95-33D1B9D3A854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相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图形用户界面, 文本, 应用程序&#10;&#10;描述已自动生成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-37" y="0"/>
            <a:ext cx="12192075" cy="6858000"/>
          </a:xfrm>
          <a:prstGeom prst="rect">
            <a:avLst/>
          </a:prstGeom>
        </p:spPr>
      </p:pic>
      <p:sp>
        <p:nvSpPr>
          <p:cNvPr id="6" name="矩形 5"/>
          <p:cNvSpPr/>
          <p:nvPr>
            <p:custDataLst>
              <p:tags r:id="rId4"/>
            </p:custDataLst>
          </p:nvPr>
        </p:nvSpPr>
        <p:spPr>
          <a:xfrm>
            <a:off x="292800" y="304200"/>
            <a:ext cx="11606400" cy="6249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1281600" y="1249200"/>
            <a:ext cx="9626400" cy="723600"/>
          </a:xfrm>
        </p:spPr>
        <p:txBody>
          <a:bodyPr anchor="ctr"/>
          <a:lstStyle>
            <a:lvl1pPr>
              <a:defRPr sz="3200"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1pPr>
          </a:lstStyle>
          <a:p>
            <a:r>
              <a:rPr lang="zh-CN" altLang="en-US" dirty="0"/>
              <a:t>单击此处编辑标题</a:t>
            </a:r>
            <a:endParaRPr lang="zh-CN" altLang="en-US" dirty="0"/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  <p:custDataLst>
              <p:tags r:id="rId6"/>
            </p:custDataLst>
          </p:nvPr>
        </p:nvSpPr>
        <p:spPr>
          <a:xfrm>
            <a:off x="1281113" y="2163600"/>
            <a:ext cx="9626600" cy="344520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1pPr>
            <a:lvl2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2pPr>
            <a:lvl3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3pPr>
            <a:lvl4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4pPr>
            <a:lvl5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fld id="{49AE70B2-8BF9-45C0-BB95-33D1B9D3A854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2352098" y="253365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2353214" y="3733086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  <p:pic>
        <p:nvPicPr>
          <p:cNvPr id="4" name="图形 3"/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69" r="65582"/>
          <a:stretch>
            <a:fillRect/>
          </a:stretch>
        </p:blipFill>
        <p:spPr>
          <a:xfrm flipH="1" flipV="1">
            <a:off x="8013701" y="0"/>
            <a:ext cx="4178299" cy="6858000"/>
          </a:xfrm>
          <a:prstGeom prst="rect">
            <a:avLst/>
          </a:prstGeom>
        </p:spPr>
      </p:pic>
      <p:cxnSp>
        <p:nvCxnSpPr>
          <p:cNvPr id="5" name="直接连接符 4"/>
          <p:cNvCxnSpPr/>
          <p:nvPr userDrawn="1"/>
        </p:nvCxnSpPr>
        <p:spPr>
          <a:xfrm>
            <a:off x="2352098" y="3590746"/>
            <a:ext cx="7175501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左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图形用户界面, 文本, 应用程序&#10;&#10;描述已自动生成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-37" y="0"/>
            <a:ext cx="12192075" cy="6858000"/>
          </a:xfrm>
          <a:prstGeom prst="rect">
            <a:avLst/>
          </a:prstGeom>
        </p:spPr>
      </p:pic>
      <p:sp>
        <p:nvSpPr>
          <p:cNvPr id="6" name="矩形 5"/>
          <p:cNvSpPr/>
          <p:nvPr>
            <p:custDataLst>
              <p:tags r:id="rId4"/>
            </p:custDataLst>
          </p:nvPr>
        </p:nvSpPr>
        <p:spPr>
          <a:xfrm>
            <a:off x="0" y="0"/>
            <a:ext cx="4823460" cy="6866255"/>
          </a:xfrm>
          <a:prstGeom prst="rect">
            <a:avLst/>
          </a:prstGeom>
          <a:solidFill>
            <a:schemeClr val="dk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p>
            <a:pPr lvl="0" algn="ctr"/>
            <a:endParaRPr lang="en-US" altLang="zh-CN" dirty="0">
              <a:solidFill>
                <a:schemeClr val="lt1"/>
              </a:solidFill>
              <a:sym typeface="+mn-ea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83200" y="770400"/>
            <a:ext cx="3960000" cy="882000"/>
          </a:xfrm>
        </p:spPr>
        <p:txBody>
          <a:bodyPr anchor="ctr" anchorCtr="0"/>
          <a:lstStyle>
            <a:lvl1pPr>
              <a:defRPr sz="3600"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1pPr>
          </a:lstStyle>
          <a:p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fld id="{49AE70B2-8BF9-45C0-BB95-33D1B9D3A854}" type="slidenum">
              <a:rPr lang="zh-CN" altLang="en-US" smtClean="0"/>
            </a:fld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3"/>
            <p:custDataLst>
              <p:tags r:id="rId9"/>
            </p:custDataLst>
          </p:nvPr>
        </p:nvSpPr>
        <p:spPr>
          <a:xfrm>
            <a:off x="586800" y="1764000"/>
            <a:ext cx="3956400" cy="409320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1pPr>
            <a:lvl2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2pPr>
            <a:lvl3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3pPr>
            <a:lvl4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4pPr>
            <a:lvl5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9" name="内容占位符 8"/>
          <p:cNvSpPr>
            <a:spLocks noGrp="1"/>
          </p:cNvSpPr>
          <p:nvPr>
            <p:ph sz="quarter" idx="14"/>
            <p:custDataLst>
              <p:tags r:id="rId10"/>
            </p:custDataLst>
          </p:nvPr>
        </p:nvSpPr>
        <p:spPr>
          <a:xfrm>
            <a:off x="5101200" y="769938"/>
            <a:ext cx="6480000" cy="5087937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1pPr>
            <a:lvl2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2pPr>
            <a:lvl3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3pPr>
            <a:lvl4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4pPr>
            <a:lvl5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上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图形用户界面, 文本, 应用程序&#10;&#10;描述已自动生成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-37" y="0"/>
            <a:ext cx="12192075" cy="6858000"/>
          </a:xfrm>
          <a:prstGeom prst="rect">
            <a:avLst/>
          </a:prstGeom>
        </p:spPr>
      </p:pic>
      <p:sp>
        <p:nvSpPr>
          <p:cNvPr id="6" name="矩形 5"/>
          <p:cNvSpPr/>
          <p:nvPr>
            <p:custDataLst>
              <p:tags r:id="rId4"/>
            </p:custDataLst>
          </p:nvPr>
        </p:nvSpPr>
        <p:spPr>
          <a:xfrm>
            <a:off x="0" y="0"/>
            <a:ext cx="12192000" cy="2664000"/>
          </a:xfrm>
          <a:prstGeom prst="rect">
            <a:avLst/>
          </a:prstGeom>
          <a:solidFill>
            <a:schemeClr val="dk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p>
            <a:pPr lvl="0" algn="ctr"/>
            <a:endParaRPr lang="en-US" altLang="zh-CN">
              <a:solidFill>
                <a:schemeClr val="lt1"/>
              </a:solidFill>
              <a:sym typeface="+mn-ea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612000" y="781200"/>
            <a:ext cx="10976400" cy="626400"/>
          </a:xfrm>
        </p:spPr>
        <p:txBody>
          <a:bodyPr anchor="ctr"/>
          <a:lstStyle>
            <a:lvl1pPr algn="ctr">
              <a:defRPr sz="3600"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fld id="{49AE70B2-8BF9-45C0-BB95-33D1B9D3A854}" type="slidenum">
              <a:rPr lang="zh-CN" altLang="en-US" smtClean="0"/>
            </a:fld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3"/>
            <p:custDataLst>
              <p:tags r:id="rId9"/>
            </p:custDataLst>
          </p:nvPr>
        </p:nvSpPr>
        <p:spPr>
          <a:xfrm>
            <a:off x="612000" y="1659600"/>
            <a:ext cx="10975975" cy="828000"/>
          </a:xfrm>
        </p:spPr>
        <p:txBody>
          <a:bodyPr/>
          <a:lstStyle>
            <a:lvl1pPr algn="ctr">
              <a:defRPr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9" name="内容占位符 8"/>
          <p:cNvSpPr>
            <a:spLocks noGrp="1"/>
          </p:cNvSpPr>
          <p:nvPr>
            <p:ph sz="quarter" idx="14"/>
            <p:custDataLst>
              <p:tags r:id="rId10"/>
            </p:custDataLst>
          </p:nvPr>
        </p:nvSpPr>
        <p:spPr>
          <a:xfrm>
            <a:off x="612775" y="2808000"/>
            <a:ext cx="10965600" cy="343080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1pPr>
            <a:lvl2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2pPr>
            <a:lvl3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3pPr>
            <a:lvl4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4pPr>
            <a:lvl5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下上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图形用户界面, 文本, 应用程序&#10;&#10;描述已自动生成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-37" y="0"/>
            <a:ext cx="12192075" cy="6858000"/>
          </a:xfrm>
          <a:prstGeom prst="rect">
            <a:avLst/>
          </a:prstGeom>
        </p:spPr>
      </p:pic>
      <p:sp>
        <p:nvSpPr>
          <p:cNvPr id="6" name="矩形 5"/>
          <p:cNvSpPr/>
          <p:nvPr>
            <p:custDataLst>
              <p:tags r:id="rId4"/>
            </p:custDataLst>
          </p:nvPr>
        </p:nvSpPr>
        <p:spPr>
          <a:xfrm>
            <a:off x="0" y="5029201"/>
            <a:ext cx="12192000" cy="1828799"/>
          </a:xfrm>
          <a:prstGeom prst="rect">
            <a:avLst/>
          </a:prstGeom>
          <a:solidFill>
            <a:schemeClr val="dk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p>
            <a:pPr lvl="0" algn="ctr"/>
            <a:endParaRPr lang="en-US" altLang="zh-CN">
              <a:solidFill>
                <a:schemeClr val="lt1"/>
              </a:solidFill>
              <a:sym typeface="+mn-ea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604800" y="669600"/>
            <a:ext cx="10976400" cy="565200"/>
          </a:xfrm>
        </p:spPr>
        <p:txBody>
          <a:bodyPr anchor="ctr" anchorCtr="0"/>
          <a:lstStyle>
            <a:lvl1pPr algn="ctr">
              <a:defRPr sz="3200"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fld id="{49AE70B2-8BF9-45C0-BB95-33D1B9D3A854}" type="slidenum">
              <a:rPr lang="zh-CN" altLang="en-US" smtClean="0"/>
            </a:fld>
            <a:endParaRPr lang="zh-CN" altLang="en-US" dirty="0"/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  <p:custDataLst>
              <p:tags r:id="rId9"/>
            </p:custDataLst>
          </p:nvPr>
        </p:nvSpPr>
        <p:spPr>
          <a:xfrm>
            <a:off x="604837" y="1681200"/>
            <a:ext cx="10990800" cy="321120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1pPr>
            <a:lvl2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2pPr>
            <a:lvl3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3pPr>
            <a:lvl4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4pPr>
            <a:lvl5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9" name="文本占位符 8"/>
          <p:cNvSpPr>
            <a:spLocks noGrp="1"/>
          </p:cNvSpPr>
          <p:nvPr>
            <p:ph type="body" sz="quarter" idx="14"/>
            <p:custDataLst>
              <p:tags r:id="rId10"/>
            </p:custDataLst>
          </p:nvPr>
        </p:nvSpPr>
        <p:spPr>
          <a:xfrm>
            <a:off x="594000" y="5180400"/>
            <a:ext cx="11001600" cy="101160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导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图形用户界面, 文本, 应用程序&#10;&#10;描述已自动生成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-37" y="0"/>
            <a:ext cx="12192075" cy="6858000"/>
          </a:xfrm>
          <a:prstGeom prst="rect">
            <a:avLst/>
          </a:prstGeom>
        </p:spPr>
      </p:pic>
      <p:sp>
        <p:nvSpPr>
          <p:cNvPr id="6" name="矩形 5"/>
          <p:cNvSpPr/>
          <p:nvPr>
            <p:custDataLst>
              <p:tags r:id="rId4"/>
            </p:custDataLst>
          </p:nvPr>
        </p:nvSpPr>
        <p:spPr>
          <a:xfrm>
            <a:off x="0" y="0"/>
            <a:ext cx="12192000" cy="914400"/>
          </a:xfrm>
          <a:prstGeom prst="rect">
            <a:avLst/>
          </a:prstGeom>
          <a:solidFill>
            <a:schemeClr val="dk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p>
            <a:pPr lvl="0" algn="ctr"/>
            <a:endParaRPr lang="en-US" altLang="zh-CN">
              <a:solidFill>
                <a:schemeClr val="lt1"/>
              </a:solidFill>
              <a:sym typeface="+mn-ea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79600" y="237600"/>
            <a:ext cx="11037600" cy="441964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fld id="{49AE70B2-8BF9-45C0-BB95-33D1B9D3A854}" type="slidenum">
              <a:rPr lang="zh-CN" altLang="en-US" smtClean="0"/>
            </a:fld>
            <a:endParaRPr lang="zh-CN" altLang="en-US" dirty="0"/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  <p:custDataLst>
              <p:tags r:id="rId9"/>
            </p:custDataLst>
          </p:nvPr>
        </p:nvSpPr>
        <p:spPr>
          <a:xfrm>
            <a:off x="579600" y="1663200"/>
            <a:ext cx="5342400" cy="289440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1pPr>
            <a:lvl2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2pPr>
            <a:lvl3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3pPr>
            <a:lvl4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4pPr>
            <a:lvl5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9" name="内容占位符 8"/>
          <p:cNvSpPr>
            <a:spLocks noGrp="1"/>
          </p:cNvSpPr>
          <p:nvPr>
            <p:ph sz="quarter" idx="14"/>
            <p:custDataLst>
              <p:tags r:id="rId10"/>
            </p:custDataLst>
          </p:nvPr>
        </p:nvSpPr>
        <p:spPr>
          <a:xfrm>
            <a:off x="6242400" y="1663200"/>
            <a:ext cx="5367600" cy="289440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1pPr>
            <a:lvl2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2pPr>
            <a:lvl3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3pPr>
            <a:lvl4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4pPr>
            <a:lvl5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11" name="文本占位符 10"/>
          <p:cNvSpPr>
            <a:spLocks noGrp="1"/>
          </p:cNvSpPr>
          <p:nvPr>
            <p:ph type="body" sz="quarter" idx="15"/>
            <p:custDataLst>
              <p:tags r:id="rId11"/>
            </p:custDataLst>
          </p:nvPr>
        </p:nvSpPr>
        <p:spPr>
          <a:xfrm>
            <a:off x="572400" y="4816800"/>
            <a:ext cx="5342400" cy="78120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13" name="文本占位符 12"/>
          <p:cNvSpPr>
            <a:spLocks noGrp="1"/>
          </p:cNvSpPr>
          <p:nvPr>
            <p:ph type="body" sz="quarter" idx="16"/>
            <p:custDataLst>
              <p:tags r:id="rId12"/>
            </p:custDataLst>
          </p:nvPr>
        </p:nvSpPr>
        <p:spPr>
          <a:xfrm>
            <a:off x="6253200" y="4813200"/>
            <a:ext cx="5367600" cy="78120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腰带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图形用户界面, 文本, 应用程序&#10;&#10;描述已自动生成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-37" y="0"/>
            <a:ext cx="12192075" cy="6858000"/>
          </a:xfrm>
          <a:prstGeom prst="rect">
            <a:avLst/>
          </a:prstGeom>
        </p:spPr>
      </p:pic>
      <p:sp>
        <p:nvSpPr>
          <p:cNvPr id="6" name="矩形 5"/>
          <p:cNvSpPr/>
          <p:nvPr>
            <p:custDataLst>
              <p:tags r:id="rId4"/>
            </p:custDataLst>
          </p:nvPr>
        </p:nvSpPr>
        <p:spPr>
          <a:xfrm>
            <a:off x="0" y="959224"/>
            <a:ext cx="12192000" cy="4939553"/>
          </a:xfrm>
          <a:prstGeom prst="rect">
            <a:avLst/>
          </a:prstGeom>
          <a:solidFill>
            <a:schemeClr val="dk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p>
            <a:pPr lvl="0" algn="ctr"/>
            <a:endParaRPr lang="en-US" altLang="zh-CN">
              <a:solidFill>
                <a:schemeClr val="lt1"/>
              </a:solidFill>
              <a:sym typeface="+mn-ea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1522800" y="1339200"/>
            <a:ext cx="9144000" cy="2386800"/>
          </a:xfrm>
        </p:spPr>
        <p:txBody>
          <a:bodyPr anchor="b"/>
          <a:lstStyle>
            <a:lvl1pPr algn="ctr">
              <a:defRPr sz="6000"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1pPr>
          </a:lstStyle>
          <a:p>
            <a:r>
              <a:rPr lang="zh-CN" altLang="en-US" dirty="0"/>
              <a:t>单击此处编辑标题</a:t>
            </a:r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fld id="{49AE70B2-8BF9-45C0-BB95-33D1B9D3A854}" type="slidenum">
              <a:rPr lang="zh-CN" altLang="en-US" smtClean="0"/>
            </a:fld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3"/>
            <p:custDataLst>
              <p:tags r:id="rId9"/>
            </p:custDataLst>
          </p:nvPr>
        </p:nvSpPr>
        <p:spPr>
          <a:xfrm>
            <a:off x="1522413" y="3862800"/>
            <a:ext cx="9144000" cy="1656000"/>
          </a:xfrm>
        </p:spPr>
        <p:txBody>
          <a:bodyPr/>
          <a:lstStyle>
            <a:lvl1pPr algn="ctr">
              <a:defRPr baseline="0">
                <a:solidFill>
                  <a:schemeClr val="tx1"/>
                </a:solidFill>
                <a:latin typeface="Arial" panose="020B0604020202020204" pitchFamily="34" charset="0"/>
                <a:ea typeface="汉仪粗简黑简" charset="0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16" name="日期占位符 1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17" name="页脚占位符 1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18" name="灯片编号占位符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fld id="{49AE70B2-8BF9-45C0-BB95-33D1B9D3A854}" type="slidenum">
              <a:rPr lang="zh-CN" altLang="en-US" smtClean="0"/>
            </a:fld>
            <a:endParaRPr lang="zh-CN" altLang="en-US" dirty="0"/>
          </a:p>
        </p:txBody>
      </p:sp>
      <p:sp>
        <p:nvSpPr>
          <p:cNvPr id="2" name="标题 1"/>
          <p:cNvSpPr/>
          <p:nvPr>
            <p:ph type="ctrTitle" idx="2" hasCustomPrompt="1"/>
            <p:custDataLst>
              <p:tags r:id="rId4"/>
            </p:custDataLst>
          </p:nvPr>
        </p:nvSpPr>
        <p:spPr>
          <a:xfrm>
            <a:off x="1652270" y="2505670"/>
            <a:ext cx="5726039" cy="1846659"/>
          </a:xfrm>
        </p:spPr>
        <p:txBody>
          <a:bodyPr vert="horz" wrap="square" lIns="0" tIns="0" rIns="0" bIns="0" rtlCol="0" anchor="b" anchorCtr="0">
            <a:normAutofit lnSpcReduction="10000"/>
          </a:bodyPr>
          <a:lstStyle>
            <a:lvl1pPr marL="0" marR="0" lvl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kumimoji="0" lang="zh-CN" altLang="en-US" sz="6000" b="1" i="0" u="none" strike="noStrike" kern="1200" cap="none" spc="600" normalizeH="0" baseline="0" noProof="0" dirty="0">
                <a:ln>
                  <a:noFill/>
                </a:ln>
                <a:solidFill>
                  <a:schemeClr val="dk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汉仪旗黑-85S" panose="00020600040101010101" pitchFamily="18" charset="-122"/>
                <a:cs typeface="+mj-cs"/>
                <a:sym typeface="Arial" panose="020B0604020202020204" pitchFamily="34" charset="0"/>
              </a:defRPr>
            </a:lvl1pPr>
          </a:lstStyle>
          <a:p>
            <a:pPr lvl="0"/>
            <a:r>
              <a:rPr>
                <a:sym typeface="+mn-ea"/>
              </a:rPr>
              <a:t>编辑标题</a:t>
            </a:r>
            <a:endParaRPr>
              <a:sym typeface="+mn-ea"/>
            </a:endParaRPr>
          </a:p>
        </p:txBody>
      </p:sp>
      <p:sp>
        <p:nvSpPr>
          <p:cNvPr id="3" name="副标题 2"/>
          <p:cNvSpPr/>
          <p:nvPr>
            <p:ph type="subTitle" idx="3" hasCustomPrompt="1"/>
            <p:custDataLst>
              <p:tags r:id="rId5"/>
            </p:custDataLst>
          </p:nvPr>
        </p:nvSpPr>
        <p:spPr>
          <a:xfrm>
            <a:off x="7954201" y="2505670"/>
            <a:ext cx="2588133" cy="1119230"/>
          </a:xfrm>
        </p:spPr>
        <p:txBody>
          <a:bodyPr vert="horz" wrap="square" lIns="0" tIns="0" rIns="0" bIns="0" rtlCol="0" anchor="ctr" anchorCtr="0">
            <a:normAutofit/>
          </a:bodyPr>
          <a:lstStyle>
            <a:lvl1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kumimoji="0" lang="zh-CN" altLang="en-US" sz="2400" b="0" i="0" u="none" strike="noStrike" kern="1200" cap="none" spc="200" normalizeH="0" baseline="0" noProof="1" dirty="0">
                <a:solidFill>
                  <a:schemeClr val="dk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defRPr>
            </a:lvl1pPr>
            <a:lvl2pPr marL="45720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tabLst>
                <a:tab pos="1609725" algn="l"/>
              </a:tabLst>
              <a:defRPr sz="2000" u="none" strike="noStrike" kern="1200" cap="none" spc="150" normalizeH="0" baseline="0"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91440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800" u="none" strike="noStrike" kern="1200" cap="none" spc="150" normalizeH="0" baseline="0"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37160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u="none" strike="noStrike" kern="1200" cap="none" spc="150" normalizeH="0" baseline="0"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182880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u="none" strike="noStrike" kern="1200" cap="none" spc="150" normalizeH="0" baseline="0"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>
                <a:sym typeface="+mn-ea"/>
              </a:rPr>
              <a:t>单击此处编辑副标题</a:t>
            </a:r>
            <a:endParaRPr>
              <a:sym typeface="+mn-ea"/>
            </a:endParaRP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形 5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6137910"/>
            <a:ext cx="720090" cy="720090"/>
          </a:xfrm>
          <a:prstGeom prst="rect">
            <a:avLst/>
          </a:prstGeom>
        </p:spPr>
      </p:pic>
      <p:pic>
        <p:nvPicPr>
          <p:cNvPr id="7" name="图形 3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471910" y="6132531"/>
            <a:ext cx="720090" cy="72009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882" y="443234"/>
            <a:ext cx="10852237" cy="441964"/>
          </a:xfrm>
        </p:spPr>
        <p:txBody>
          <a:bodyPr vert="horz" lIns="90170" tIns="46990" rIns="90170" bIns="46990" rtlCol="0" anchor="ctr" anchorCtr="0">
            <a:no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2400" b="1" i="0" u="none" strike="noStrike" kern="1200" cap="none" spc="20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dirty="0">
                <a:sym typeface="+mn-ea"/>
              </a:rPr>
              <a:t>单击此处编辑母版标题样式</a:t>
            </a:r>
            <a:endParaRPr dirty="0"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69882" y="952508"/>
            <a:ext cx="10852237" cy="5388907"/>
          </a:xfrm>
        </p:spPr>
        <p:txBody>
          <a:bodyPr vert="horz" lIns="90170" tIns="46990" rIns="90170" bIns="46990" rtlCol="0">
            <a:norm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+mn-ea"/>
              </a:defRPr>
            </a:lvl1pPr>
            <a:lvl2pPr marL="685800" marR="0" lvl="1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1609725" algn="l"/>
              </a:tabLst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+mn-ea"/>
              </a:defRPr>
            </a:lvl5pPr>
          </a:lstStyle>
          <a:p>
            <a:pPr lvl="0"/>
            <a:r>
              <a:rPr dirty="0">
                <a:sym typeface="+mn-ea"/>
              </a:rPr>
              <a:t>单击此处编辑母版文本样式</a:t>
            </a:r>
            <a:endParaRPr dirty="0">
              <a:sym typeface="+mn-ea"/>
            </a:endParaRPr>
          </a:p>
          <a:p>
            <a:pPr lvl="1"/>
            <a:r>
              <a:rPr dirty="0">
                <a:sym typeface="+mn-ea"/>
              </a:rPr>
              <a:t>第二级</a:t>
            </a:r>
            <a:endParaRPr dirty="0">
              <a:sym typeface="+mn-ea"/>
            </a:endParaRPr>
          </a:p>
          <a:p>
            <a:pPr lvl="2"/>
            <a:r>
              <a:rPr dirty="0">
                <a:sym typeface="+mn-ea"/>
              </a:rPr>
              <a:t>第三级</a:t>
            </a:r>
            <a:endParaRPr dirty="0">
              <a:sym typeface="+mn-ea"/>
            </a:endParaRPr>
          </a:p>
          <a:p>
            <a:pPr lvl="3"/>
            <a:r>
              <a:rPr dirty="0">
                <a:sym typeface="+mn-ea"/>
              </a:rPr>
              <a:t>第四级</a:t>
            </a:r>
            <a:endParaRPr dirty="0">
              <a:sym typeface="+mn-ea"/>
            </a:endParaRPr>
          </a:p>
          <a:p>
            <a:pPr lvl="4"/>
            <a:r>
              <a:rPr dirty="0">
                <a:sym typeface="+mn-ea"/>
              </a:rPr>
              <a:t>第五级</a:t>
            </a:r>
            <a:endParaRPr dirty="0">
              <a:sym typeface="+mn-ea"/>
            </a:endParaRP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形 3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15153" y="1837341"/>
            <a:ext cx="3235350" cy="3183307"/>
          </a:xfrm>
          <a:prstGeom prst="rect">
            <a:avLst/>
          </a:prstGeom>
        </p:spPr>
      </p:pic>
      <p:pic>
        <p:nvPicPr>
          <p:cNvPr id="2" name="图形 5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471910" y="6137910"/>
            <a:ext cx="720090" cy="720090"/>
          </a:xfrm>
          <a:prstGeom prst="rect">
            <a:avLst/>
          </a:prstGeom>
        </p:spPr>
      </p:pic>
      <p:pic>
        <p:nvPicPr>
          <p:cNvPr id="7" name="图形 3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471910" y="0"/>
            <a:ext cx="720090" cy="720090"/>
          </a:xfrm>
          <a:prstGeom prst="rect">
            <a:avLst/>
          </a:prstGeom>
        </p:spPr>
      </p:pic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8" name="标题 5"/>
          <p:cNvSpPr>
            <a:spLocks noGrp="1"/>
          </p:cNvSpPr>
          <p:nvPr>
            <p:ph type="ctrTitle" idx="2" hasCustomPrompt="1"/>
            <p:custDataLst>
              <p:tags r:id="rId11"/>
            </p:custDataLst>
          </p:nvPr>
        </p:nvSpPr>
        <p:spPr>
          <a:xfrm>
            <a:off x="4521871" y="3613741"/>
            <a:ext cx="6857365" cy="582930"/>
          </a:xfrm>
        </p:spPr>
        <p:txBody>
          <a:bodyPr vert="horz" wrap="square" lIns="0" tIns="0" rIns="0" bIns="0" rtlCol="0" anchor="b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buClrTx/>
              <a:buSzTx/>
              <a:buFontTx/>
              <a:buNone/>
              <a:defRPr kumimoji="0" lang="zh-CN" altLang="en-US" sz="3160" b="1" i="0" u="none" strike="noStrike" kern="1200" cap="none" spc="300" normalizeH="0" baseline="0" noProof="1">
                <a:solidFill>
                  <a:schemeClr val="dk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汉仪旗黑-85S" panose="00020600040101010101" pitchFamily="18" charset="-122"/>
                <a:cs typeface="+mj-cs"/>
              </a:defRPr>
            </a:lvl1pPr>
          </a:lstStyle>
          <a:p>
            <a:pPr lvl="0"/>
            <a:r>
              <a:rPr>
                <a:sym typeface="+mn-ea"/>
              </a:rPr>
              <a:t>编辑标题</a:t>
            </a:r>
            <a:endParaRPr>
              <a:sym typeface="+mn-ea"/>
            </a:endParaRPr>
          </a:p>
        </p:txBody>
      </p:sp>
      <p:sp>
        <p:nvSpPr>
          <p:cNvPr id="9" name="副标题 7"/>
          <p:cNvSpPr>
            <a:spLocks noGrp="1"/>
          </p:cNvSpPr>
          <p:nvPr>
            <p:ph type="subTitle" idx="3" hasCustomPrompt="1"/>
            <p:custDataLst>
              <p:tags r:id="rId12"/>
            </p:custDataLst>
          </p:nvPr>
        </p:nvSpPr>
        <p:spPr>
          <a:xfrm>
            <a:off x="4521871" y="4261441"/>
            <a:ext cx="6857365" cy="1669926"/>
          </a:xfrm>
        </p:spPr>
        <p:txBody>
          <a:bodyPr vert="horz" wrap="square" lIns="0" tIns="0" rIns="0" bIns="0" rtlCol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kumimoji="0" lang="zh-CN" altLang="en-US" sz="1600" b="0" i="0" u="none" strike="noStrike" kern="1200" cap="none" spc="200" normalizeH="0" baseline="0" noProof="1" dirty="0">
                <a:solidFill>
                  <a:schemeClr val="dk1">
                    <a:lumMod val="65000"/>
                    <a:lumOff val="3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+mn-ea"/>
              </a:defRPr>
            </a:lvl1pPr>
            <a:lvl2pPr marL="45720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750"/>
              </a:spcAft>
              <a:buFont typeface="Arial" panose="020B0604020202020204" pitchFamily="34" charset="0"/>
              <a:buNone/>
              <a:tabLst>
                <a:tab pos="1609725" algn="l"/>
              </a:tabLst>
              <a:defRPr sz="2000" u="none" strike="noStrike" kern="1200" cap="none" spc="0" normalizeH="0" baseline="0">
                <a:solidFill>
                  <a:schemeClr val="tx1">
                    <a:tint val="7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91440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750"/>
              </a:spcAft>
              <a:buFont typeface="Arial" panose="020B0604020202020204" pitchFamily="34" charset="0"/>
              <a:buNone/>
              <a:defRPr sz="1800" u="none" strike="noStrike" kern="1200" cap="none" spc="0" normalizeH="0" baseline="0">
                <a:solidFill>
                  <a:schemeClr val="tx1">
                    <a:tint val="7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137160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750"/>
              </a:spcAft>
              <a:buFont typeface="Arial" panose="020B0604020202020204" pitchFamily="34" charset="0"/>
              <a:buNone/>
              <a:defRPr sz="1600" u="none" strike="noStrike" kern="1200" cap="none" spc="0" normalizeH="0" baseline="0">
                <a:solidFill>
                  <a:schemeClr val="tx1">
                    <a:tint val="7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182880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750"/>
              </a:spcAft>
              <a:buFont typeface="Arial" panose="020B0604020202020204" pitchFamily="34" charset="0"/>
              <a:buNone/>
              <a:defRPr sz="1600" u="none" strike="noStrike" kern="1200" cap="none" spc="0" normalizeH="0" baseline="0">
                <a:solidFill>
                  <a:schemeClr val="tx1">
                    <a:tint val="7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>
                <a:sym typeface="+mn-ea"/>
              </a:rPr>
              <a:t>单击此处编辑副标题</a:t>
            </a:r>
            <a:endParaRPr>
              <a:sym typeface="+mn-ea"/>
            </a:endParaRP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形 5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6137910"/>
            <a:ext cx="720090" cy="720090"/>
          </a:xfrm>
          <a:prstGeom prst="rect">
            <a:avLst/>
          </a:prstGeom>
        </p:spPr>
      </p:pic>
      <p:pic>
        <p:nvPicPr>
          <p:cNvPr id="8" name="图形 3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471910" y="6132531"/>
            <a:ext cx="720090" cy="72009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882" y="443234"/>
            <a:ext cx="10852237" cy="441964"/>
          </a:xfrm>
        </p:spPr>
        <p:txBody>
          <a:bodyPr vert="horz" lIns="90170" tIns="46990" rIns="90170" bIns="46990" rtlCol="0" anchor="ctr" anchorCtr="0">
            <a:noAutofit/>
          </a:bodyPr>
          <a:lstStyle>
            <a:lvl1pPr marL="0" marR="0" lvl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2400" b="1" i="0" u="none" strike="noStrike" kern="1200" cap="none" spc="20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母版标题样式</a:t>
            </a:r>
            <a:endParaRPr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69930" y="952508"/>
            <a:ext cx="5283242" cy="5388907"/>
          </a:xfrm>
        </p:spPr>
        <p:txBody>
          <a:bodyPr vert="horz" lIns="90170" tIns="46990" rIns="90170" bIns="46990" rtlCol="0">
            <a:norm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+mn-ea"/>
              </a:defRPr>
            </a:lvl1pPr>
            <a:lvl2pPr marL="685800" marR="0" lvl="1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1609725" algn="l"/>
              </a:tabLst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+mn-ea"/>
              </a:defRPr>
            </a:lvl5pPr>
          </a:lstStyle>
          <a:p>
            <a:pPr lvl="0"/>
            <a:r>
              <a:rPr>
                <a:sym typeface="+mn-ea"/>
              </a:rPr>
              <a:t>单击此处编辑母版文本样式</a:t>
            </a:r>
            <a:endParaRPr>
              <a:sym typeface="+mn-ea"/>
            </a:endParaRPr>
          </a:p>
          <a:p>
            <a:pPr lvl="1"/>
            <a:r>
              <a:rPr>
                <a:sym typeface="+mn-ea"/>
              </a:rPr>
              <a:t>第二级</a:t>
            </a:r>
            <a:endParaRPr>
              <a:sym typeface="+mn-ea"/>
            </a:endParaRPr>
          </a:p>
          <a:p>
            <a:pPr lvl="2"/>
            <a:r>
              <a:rPr>
                <a:sym typeface="+mn-ea"/>
              </a:rPr>
              <a:t>第三级</a:t>
            </a:r>
            <a:endParaRPr>
              <a:sym typeface="+mn-ea"/>
            </a:endParaRPr>
          </a:p>
          <a:p>
            <a:pPr lvl="3"/>
            <a:r>
              <a:rPr>
                <a:sym typeface="+mn-ea"/>
              </a:rPr>
              <a:t>第四级</a:t>
            </a:r>
            <a:endParaRPr>
              <a:sym typeface="+mn-ea"/>
            </a:endParaRPr>
          </a:p>
          <a:p>
            <a:pPr lvl="4"/>
            <a:r>
              <a:rPr>
                <a:sym typeface="+mn-ea"/>
              </a:rPr>
              <a:t>第五级</a:t>
            </a:r>
            <a:endParaRPr>
              <a:sym typeface="+mn-ea"/>
            </a:endParaRP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38877" y="952508"/>
            <a:ext cx="5283242" cy="5388907"/>
          </a:xfrm>
        </p:spPr>
        <p:txBody>
          <a:bodyPr lIns="90170" tIns="46990" rIns="90170" bIns="46990">
            <a:normAutofit/>
          </a:bodyPr>
          <a:lstStyle>
            <a:lvl1pPr eaLnBrk="1" fontAlgn="auto" latinLnBrk="0" hangingPunct="1">
              <a:defRPr sz="16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eaLnBrk="1" fontAlgn="auto" latinLnBrk="0" hangingPunct="1">
              <a:defRPr sz="16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eaLnBrk="1" fontAlgn="auto" latinLnBrk="0" hangingPunct="1">
              <a:defRPr sz="16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eaLnBrk="1" fontAlgn="auto" latinLnBrk="0" hangingPunct="1">
              <a:defRPr sz="16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eaLnBrk="1" fontAlgn="auto" latinLnBrk="0" hangingPunct="1">
              <a:defRPr sz="16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形 5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6137910"/>
            <a:ext cx="720090" cy="720090"/>
          </a:xfrm>
          <a:prstGeom prst="rect">
            <a:avLst/>
          </a:prstGeom>
        </p:spPr>
      </p:pic>
      <p:pic>
        <p:nvPicPr>
          <p:cNvPr id="10" name="图形 3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471910" y="6132531"/>
            <a:ext cx="720090" cy="72009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882" y="443234"/>
            <a:ext cx="10852237" cy="441964"/>
          </a:xfrm>
        </p:spPr>
        <p:txBody>
          <a:bodyPr vert="horz" lIns="90170" tIns="46990" rIns="90170" bIns="46990" rtlCol="0" anchor="ctr" anchorCtr="0">
            <a:noAutofit/>
          </a:bodyPr>
          <a:lstStyle>
            <a:lvl1pPr marL="0" marR="0" lvl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2400" b="1" i="0" u="none" strike="noStrike" kern="1200" cap="none" spc="20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dirty="0">
                <a:sym typeface="+mn-ea"/>
              </a:rPr>
              <a:t>单击此处编辑母版标题样式</a:t>
            </a:r>
            <a:endParaRPr dirty="0">
              <a:sym typeface="+mn-ea"/>
            </a:endParaRP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669930" y="952508"/>
            <a:ext cx="5283242" cy="381003"/>
          </a:xfrm>
        </p:spPr>
        <p:txBody>
          <a:bodyPr lIns="90170" tIns="46990" rIns="90170" bIns="46990" anchor="ctr" anchorCtr="0">
            <a:noAutofit/>
          </a:bodyPr>
          <a:lstStyle>
            <a:lvl1pPr marL="0" indent="0" eaLnBrk="1" fontAlgn="auto" latinLnBrk="0" hangingPunct="1">
              <a:lnSpc>
                <a:spcPct val="100000"/>
              </a:lnSpc>
              <a:spcAft>
                <a:spcPts val="0"/>
              </a:spcAft>
              <a:buNone/>
              <a:defRPr sz="2000" b="0" u="none" strike="noStrike" kern="1200" cap="none" spc="200" normalizeH="0" baseline="0">
                <a:solidFill>
                  <a:schemeClr val="tx1"/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文本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69925" y="1406525"/>
            <a:ext cx="5283200" cy="4934752"/>
          </a:xfrm>
        </p:spPr>
        <p:txBody>
          <a:bodyPr vert="horz" lIns="90170" tIns="46990" rIns="90170" bIns="46990" rtlCol="0">
            <a:norm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+mn-ea"/>
              </a:defRPr>
            </a:lvl1pPr>
            <a:lvl2pPr marL="685800" marR="0" lvl="1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1609725" algn="l"/>
              </a:tabLst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+mn-ea"/>
              </a:defRPr>
            </a:lvl5pPr>
          </a:lstStyle>
          <a:p>
            <a:pPr lvl="0"/>
            <a:r>
              <a:rPr dirty="0">
                <a:sym typeface="+mn-ea"/>
              </a:rPr>
              <a:t>单击此处编辑母版文本样式</a:t>
            </a:r>
            <a:endParaRPr dirty="0">
              <a:sym typeface="+mn-ea"/>
            </a:endParaRPr>
          </a:p>
          <a:p>
            <a:pPr lvl="1"/>
            <a:r>
              <a:rPr dirty="0">
                <a:sym typeface="+mn-ea"/>
              </a:rPr>
              <a:t>第二级</a:t>
            </a:r>
            <a:endParaRPr dirty="0">
              <a:sym typeface="+mn-ea"/>
            </a:endParaRPr>
          </a:p>
          <a:p>
            <a:pPr lvl="2"/>
            <a:r>
              <a:rPr dirty="0">
                <a:sym typeface="+mn-ea"/>
              </a:rPr>
              <a:t>第三级</a:t>
            </a:r>
            <a:endParaRPr dirty="0">
              <a:sym typeface="+mn-ea"/>
            </a:endParaRPr>
          </a:p>
          <a:p>
            <a:pPr lvl="3"/>
            <a:r>
              <a:rPr dirty="0">
                <a:sym typeface="+mn-ea"/>
              </a:rPr>
              <a:t>第四级</a:t>
            </a:r>
            <a:endParaRPr dirty="0">
              <a:sym typeface="+mn-ea"/>
            </a:endParaRPr>
          </a:p>
          <a:p>
            <a:pPr lvl="4"/>
            <a:r>
              <a:rPr dirty="0">
                <a:sym typeface="+mn-ea"/>
              </a:rPr>
              <a:t>第五级</a:t>
            </a:r>
            <a:endParaRPr dirty="0">
              <a:sym typeface="+mn-ea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 hasCustomPrompt="1"/>
          </p:nvPr>
        </p:nvSpPr>
        <p:spPr>
          <a:xfrm>
            <a:off x="6235750" y="952508"/>
            <a:ext cx="5283242" cy="381003"/>
          </a:xfrm>
        </p:spPr>
        <p:txBody>
          <a:bodyPr vert="horz" lIns="90170" tIns="46990" rIns="90170" bIns="46990" rtlCol="0" anchor="ctr" anchorCtr="0">
            <a:noAutofit/>
          </a:bodyPr>
          <a:lstStyle>
            <a:lvl1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kumimoji="0" lang="zh-CN" altLang="en-US" sz="2000" b="0" i="0" u="none" strike="noStrike" kern="1200" cap="none" spc="20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+mn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>
                <a:sym typeface="+mn-ea"/>
              </a:rPr>
              <a:t>单击此处编辑文本</a:t>
            </a:r>
            <a:endParaRPr>
              <a:sym typeface="+mn-ea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35750" y="1406525"/>
            <a:ext cx="5283242" cy="4934752"/>
          </a:xfrm>
        </p:spPr>
        <p:txBody>
          <a:bodyPr vert="horz" lIns="90170" tIns="46990" rIns="90170" bIns="46990" rtlCol="0">
            <a:norm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+mn-ea"/>
              </a:defRPr>
            </a:lvl1pPr>
            <a:lvl2pPr marL="685800" marR="0" lvl="1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1609725" algn="l"/>
              </a:tabLst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+mn-ea"/>
              </a:defRPr>
            </a:lvl5pPr>
          </a:lstStyle>
          <a:p>
            <a:pPr lvl="0"/>
            <a:r>
              <a:rPr dirty="0">
                <a:sym typeface="+mn-ea"/>
              </a:rPr>
              <a:t>单击此处编辑母版文本样式</a:t>
            </a:r>
            <a:endParaRPr dirty="0">
              <a:sym typeface="+mn-ea"/>
            </a:endParaRPr>
          </a:p>
          <a:p>
            <a:pPr lvl="1"/>
            <a:r>
              <a:rPr dirty="0">
                <a:sym typeface="+mn-ea"/>
              </a:rPr>
              <a:t>第二级</a:t>
            </a:r>
            <a:endParaRPr dirty="0">
              <a:sym typeface="+mn-ea"/>
            </a:endParaRPr>
          </a:p>
          <a:p>
            <a:pPr lvl="2"/>
            <a:r>
              <a:rPr dirty="0">
                <a:sym typeface="+mn-ea"/>
              </a:rPr>
              <a:t>第三级</a:t>
            </a:r>
            <a:endParaRPr dirty="0">
              <a:sym typeface="+mn-ea"/>
            </a:endParaRPr>
          </a:p>
          <a:p>
            <a:pPr lvl="3"/>
            <a:r>
              <a:rPr dirty="0">
                <a:sym typeface="+mn-ea"/>
              </a:rPr>
              <a:t>第四级</a:t>
            </a:r>
            <a:endParaRPr dirty="0">
              <a:sym typeface="+mn-ea"/>
            </a:endParaRPr>
          </a:p>
          <a:p>
            <a:pPr lvl="4"/>
            <a:r>
              <a:rPr dirty="0">
                <a:sym typeface="+mn-ea"/>
              </a:rPr>
              <a:t>第五级</a:t>
            </a:r>
            <a:endParaRPr dirty="0">
              <a:sym typeface="+mn-ea"/>
            </a:endParaRP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形 3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498080" y="1269742"/>
            <a:ext cx="4389120" cy="4318517"/>
          </a:xfrm>
          <a:prstGeom prst="rect">
            <a:avLst/>
          </a:prstGeom>
        </p:spPr>
      </p:pic>
      <p:pic>
        <p:nvPicPr>
          <p:cNvPr id="6" name="图形 5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0" y="0"/>
            <a:ext cx="720090" cy="72009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vert="horz" lIns="90170" tIns="46990" rIns="90170" bIns="46990" rtlCol="0" anchor="ctr" anchorCtr="0">
            <a:noAutofit/>
          </a:bodyPr>
          <a:lstStyle>
            <a:lvl1pPr marL="0" marR="0" lvl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2400" b="1" i="0" u="none" strike="noStrike" kern="1200" cap="none" spc="20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母版标题样式</a:t>
            </a:r>
            <a:endParaRPr>
              <a:sym typeface="+mn-ea"/>
            </a:endParaRP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形 5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6137910"/>
            <a:ext cx="720090" cy="720090"/>
          </a:xfrm>
          <a:prstGeom prst="rect">
            <a:avLst/>
          </a:prstGeom>
        </p:spPr>
      </p:pic>
      <p:pic>
        <p:nvPicPr>
          <p:cNvPr id="8" name="图形 3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471910" y="6132531"/>
            <a:ext cx="720090" cy="72009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30" y="443234"/>
            <a:ext cx="10852237" cy="441964"/>
          </a:xfrm>
        </p:spPr>
        <p:txBody>
          <a:bodyPr vert="horz" lIns="90170" tIns="46990" rIns="90170" bIns="46990" rtlCol="0" anchor="ctr" anchorCtr="0">
            <a:noAutofit/>
          </a:bodyPr>
          <a:lstStyle>
            <a:lvl1pPr marL="0" marR="0" lvl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2400" b="1" i="0" u="none" strike="noStrike" kern="1200" cap="none" spc="20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 dirty="0">
                <a:sym typeface="+mn-ea"/>
              </a:rPr>
              <a:t>单击此处编辑母版标题样式</a:t>
            </a:r>
            <a:endParaRPr dirty="0">
              <a:sym typeface="+mn-ea"/>
            </a:endParaRP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669930" y="952508"/>
            <a:ext cx="5283242" cy="5388907"/>
          </a:xfrm>
        </p:spPr>
        <p:txBody>
          <a:bodyPr vert="horz" lIns="90170" tIns="46990" rIns="90170" bIns="46990" rtlCol="0">
            <a:normAutofit/>
          </a:bodyPr>
          <a:lstStyle>
            <a:lvl1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+mn-ea"/>
              </a:defRPr>
            </a:lvl1pPr>
            <a:lvl2pPr marL="685800" marR="0" lvl="1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1609725" algn="l"/>
              </a:tabLst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5pPr>
          </a:lstStyle>
          <a:p>
            <a:pPr lvl="0"/>
            <a:endParaRPr dirty="0">
              <a:sym typeface="+mn-ea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38925" y="952508"/>
            <a:ext cx="5283242" cy="5388907"/>
          </a:xfrm>
        </p:spPr>
        <p:txBody>
          <a:bodyPr vert="horz" lIns="90170" tIns="46990" rIns="90170" bIns="46990" rtlCol="0">
            <a:norm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母版文本样式</a:t>
            </a:r>
            <a:endParaRPr>
              <a:sym typeface="+mn-ea"/>
            </a:endParaRP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fld id="{9EFD9D74-47D9-4702-A33C-335B63B48DBF}" type="datetimeFigureOut">
              <a:rPr lang="zh-CN" altLang="en-US" smtClean="0"/>
            </a:fld>
            <a:endParaRPr lang="zh-CN" altLang="en-US" dirty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fld id="{FABC47A4-756D-490B-A52F-7D9E2C9FC05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形 5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6137910"/>
            <a:ext cx="720090" cy="720090"/>
          </a:xfrm>
          <a:prstGeom prst="rect">
            <a:avLst/>
          </a:prstGeom>
        </p:spPr>
      </p:pic>
      <p:pic>
        <p:nvPicPr>
          <p:cNvPr id="7" name="图形 3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471910" y="6132531"/>
            <a:ext cx="720090" cy="720090"/>
          </a:xfrm>
          <a:prstGeom prst="rect">
            <a:avLst/>
          </a:prstGeom>
        </p:spPr>
      </p:pic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0571135" y="952508"/>
            <a:ext cx="950984" cy="5388907"/>
          </a:xfrm>
        </p:spPr>
        <p:txBody>
          <a:bodyPr vert="eaVert" lIns="90170" tIns="46990" rIns="90170" bIns="46990" rtlCol="0" anchor="ctr" anchorCtr="0">
            <a:noAutofit/>
          </a:bodyPr>
          <a:lstStyle>
            <a:lvl1pPr marL="0" marR="0" lvl="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None/>
              <a:defRPr kumimoji="0" lang="zh-CN" altLang="en-US" sz="2400" b="1" i="0" u="none" strike="noStrike" kern="1200" cap="none" spc="20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母版标题样式</a:t>
            </a:r>
            <a:endParaRPr>
              <a:sym typeface="+mn-ea"/>
            </a:endParaRP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69925" y="952500"/>
            <a:ext cx="9828101" cy="5388907"/>
          </a:xfrm>
        </p:spPr>
        <p:txBody>
          <a:bodyPr vert="eaVert"/>
          <a:lstStyle>
            <a:lvl1pPr indent="0" eaLnBrk="1" fontAlgn="auto" latinLnBrk="0" hangingPunct="1"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indent="0" eaLnBrk="1" fontAlgn="auto" latinLnBrk="0" hangingPunct="1"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indent="0" eaLnBrk="1" fontAlgn="auto" latinLnBrk="0" hangingPunct="1"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indent="0" eaLnBrk="1" fontAlgn="auto" latinLnBrk="0" hangingPunct="1"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indent="0" eaLnBrk="1" fontAlgn="auto" latinLnBrk="0" hangingPunct="1"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形 5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6137910"/>
            <a:ext cx="720090" cy="720090"/>
          </a:xfrm>
          <a:prstGeom prst="rect">
            <a:avLst/>
          </a:prstGeom>
        </p:spPr>
      </p:pic>
      <p:pic>
        <p:nvPicPr>
          <p:cNvPr id="2" name="图形 3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471910" y="6132531"/>
            <a:ext cx="720090" cy="720090"/>
          </a:xfrm>
          <a:prstGeom prst="rect">
            <a:avLst/>
          </a:prstGeom>
        </p:spPr>
      </p:pic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</p:nvPr>
        </p:nvSpPr>
        <p:spPr>
          <a:xfrm>
            <a:off x="669930" y="952508"/>
            <a:ext cx="10852237" cy="5388907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6" name="文本占位符 1"/>
          <p:cNvSpPr/>
          <p:nvPr>
            <p:ph type="body" idx="1" hasCustomPrompt="1"/>
            <p:custDataLst>
              <p:tags r:id="rId4"/>
            </p:custDataLst>
          </p:nvPr>
        </p:nvSpPr>
        <p:spPr>
          <a:xfrm>
            <a:off x="1652270" y="4509067"/>
            <a:ext cx="8890064" cy="737966"/>
          </a:xfrm>
        </p:spPr>
        <p:txBody>
          <a:bodyPr vert="horz" wrap="square" lIns="0" tIns="0" rIns="0" bIns="0" rtlCol="0" anchor="t" anchorCtr="0">
            <a:normAutofit/>
          </a:bodyPr>
          <a:lstStyle>
            <a:lvl1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kumimoji="0" lang="zh-CN" altLang="en-US" sz="2400" b="0" i="0" u="none" strike="noStrike" kern="1200" cap="none" spc="200" normalizeH="0" baseline="0" noProof="0" dirty="0">
                <a:ln>
                  <a:noFill/>
                </a:ln>
                <a:solidFill>
                  <a:schemeClr val="dk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defRPr>
            </a:lvl1pPr>
            <a:lvl2pPr marL="45720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tabLst>
                <a:tab pos="1609725" algn="l"/>
              </a:tabLst>
              <a:defRPr sz="2000" u="none" strike="noStrike" kern="1200" cap="none" spc="150" normalizeH="0" baseline="0"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91440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800" u="none" strike="noStrike" kern="1200" cap="none" spc="150" normalizeH="0" baseline="0"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137160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u="none" strike="noStrike" kern="1200" cap="none" spc="150" normalizeH="0" baseline="0"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182880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u="none" strike="noStrike" kern="1200" cap="none" spc="150" normalizeH="0" baseline="0">
                <a:solidFill>
                  <a:schemeClr val="tx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>
                <a:sym typeface="+mn-ea"/>
              </a:rPr>
              <a:t>单击此处编辑副标题</a:t>
            </a:r>
            <a:endParaRPr>
              <a:sym typeface="+mn-ea"/>
            </a:endParaRPr>
          </a:p>
        </p:txBody>
      </p:sp>
      <p:sp>
        <p:nvSpPr>
          <p:cNvPr id="7" name="标题 2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1652270" y="1610965"/>
            <a:ext cx="8889429" cy="2625052"/>
          </a:xfrm>
        </p:spPr>
        <p:txBody>
          <a:bodyPr vert="horz" wrap="square" lIns="0" tIns="0" rIns="0" bIns="0" rtlCol="0" anchor="b" anchorCtr="0">
            <a:normAutofit/>
          </a:bodyPr>
          <a:lstStyle>
            <a:lvl1pPr marL="0" marR="0" algn="dist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kumimoji="0" lang="zh-CN" altLang="en-US" sz="8600" b="1" i="0" u="none" strike="noStrike" kern="1200" cap="none" spc="1000" normalizeH="0" baseline="0" noProof="1" dirty="0">
                <a:solidFill>
                  <a:schemeClr val="dk1">
                    <a:lumMod val="85000"/>
                    <a:lumOff val="15000"/>
                  </a:schemeClr>
                </a:solidFill>
                <a:uFillTx/>
                <a:latin typeface="Arial" panose="020B0604020202020204" pitchFamily="34" charset="0"/>
                <a:ea typeface="汉仪旗黑-85S" panose="00020600040101010101" pitchFamily="18" charset="-122"/>
                <a:cs typeface="+mj-cs"/>
              </a:defRPr>
            </a:lvl1pPr>
          </a:lstStyle>
          <a:p>
            <a:pPr lvl="0"/>
            <a:r>
              <a:rPr>
                <a:sym typeface="+mn-ea"/>
              </a:rPr>
              <a:t>编辑标题</a:t>
            </a:r>
            <a:endParaRPr>
              <a:sym typeface="+mn-ea"/>
            </a:endParaRP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通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形 5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6137910"/>
            <a:ext cx="720090" cy="720090"/>
          </a:xfrm>
          <a:prstGeom prst="rect">
            <a:avLst/>
          </a:prstGeom>
        </p:spPr>
      </p:pic>
      <p:pic>
        <p:nvPicPr>
          <p:cNvPr id="6" name="图形 3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471910" y="6132531"/>
            <a:ext cx="720090" cy="72009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/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9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11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fld id="{49AE70B2-8BF9-45C0-BB95-33D1B9D3A854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相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>
            <p:custDataLst>
              <p:tags r:id="rId2"/>
            </p:custDataLst>
          </p:nvPr>
        </p:nvSpPr>
        <p:spPr>
          <a:xfrm>
            <a:off x="294600" y="302400"/>
            <a:ext cx="11602796" cy="62531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pic>
        <p:nvPicPr>
          <p:cNvPr id="8" name="图形 5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471910" y="0"/>
            <a:ext cx="720090" cy="720090"/>
          </a:xfrm>
          <a:prstGeom prst="rect">
            <a:avLst/>
          </a:prstGeom>
        </p:spPr>
      </p:pic>
      <p:pic>
        <p:nvPicPr>
          <p:cNvPr id="6" name="图形 3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6137910"/>
            <a:ext cx="720090" cy="72009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 hasCustomPrompt="1"/>
            <p:custDataLst>
              <p:tags r:id="rId9"/>
            </p:custDataLst>
          </p:nvPr>
        </p:nvSpPr>
        <p:spPr>
          <a:xfrm>
            <a:off x="1281600" y="1249200"/>
            <a:ext cx="9626400" cy="723600"/>
          </a:xfrm>
        </p:spPr>
        <p:txBody>
          <a:bodyPr anchor="ctr"/>
          <a:lstStyle>
            <a:lvl1pPr>
              <a:defRPr sz="3200"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标题</a:t>
            </a:r>
            <a:endParaRPr lang="zh-CN" altLang="en-US" dirty="0"/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  <p:custDataLst>
              <p:tags r:id="rId10"/>
            </p:custDataLst>
          </p:nvPr>
        </p:nvSpPr>
        <p:spPr>
          <a:xfrm>
            <a:off x="1281113" y="2163600"/>
            <a:ext cx="9626600" cy="344520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11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12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13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fld id="{49AE70B2-8BF9-45C0-BB95-33D1B9D3A854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左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>
            <p:custDataLst>
              <p:tags r:id="rId2"/>
            </p:custDataLst>
          </p:nvPr>
        </p:nvSpPr>
        <p:spPr>
          <a:xfrm>
            <a:off x="0" y="-10800"/>
            <a:ext cx="4827588" cy="6868795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pic>
        <p:nvPicPr>
          <p:cNvPr id="8" name="图形 5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-10800"/>
            <a:ext cx="720090" cy="720090"/>
          </a:xfrm>
          <a:prstGeom prst="rect">
            <a:avLst/>
          </a:prstGeom>
        </p:spPr>
      </p:pic>
      <p:pic>
        <p:nvPicPr>
          <p:cNvPr id="6" name="图形 3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471910" y="6137910"/>
            <a:ext cx="720090" cy="72009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 hasCustomPrompt="1"/>
            <p:custDataLst>
              <p:tags r:id="rId9"/>
            </p:custDataLst>
          </p:nvPr>
        </p:nvSpPr>
        <p:spPr>
          <a:xfrm>
            <a:off x="583200" y="770400"/>
            <a:ext cx="3960000" cy="882000"/>
          </a:xfrm>
        </p:spPr>
        <p:txBody>
          <a:bodyPr anchor="ctr" anchorCtr="0"/>
          <a:lstStyle>
            <a:lvl1pPr>
              <a:defRPr sz="3600"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11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12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fld id="{49AE70B2-8BF9-45C0-BB95-33D1B9D3A854}" type="slidenum">
              <a:rPr lang="zh-CN" altLang="en-US" smtClean="0"/>
            </a:fld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3"/>
            <p:custDataLst>
              <p:tags r:id="rId13"/>
            </p:custDataLst>
          </p:nvPr>
        </p:nvSpPr>
        <p:spPr>
          <a:xfrm>
            <a:off x="586800" y="1764000"/>
            <a:ext cx="3956400" cy="409320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9" name="内容占位符 8"/>
          <p:cNvSpPr>
            <a:spLocks noGrp="1"/>
          </p:cNvSpPr>
          <p:nvPr>
            <p:ph sz="quarter" idx="14"/>
            <p:custDataLst>
              <p:tags r:id="rId14"/>
            </p:custDataLst>
          </p:nvPr>
        </p:nvSpPr>
        <p:spPr>
          <a:xfrm>
            <a:off x="5101200" y="769938"/>
            <a:ext cx="6480000" cy="5087937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上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>
            <p:custDataLst>
              <p:tags r:id="rId2"/>
            </p:custDataLst>
          </p:nvPr>
        </p:nvSpPr>
        <p:spPr>
          <a:xfrm>
            <a:off x="0" y="-10800"/>
            <a:ext cx="12189600" cy="2660396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pic>
        <p:nvPicPr>
          <p:cNvPr id="8" name="图形 5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6137910"/>
            <a:ext cx="720090" cy="720090"/>
          </a:xfrm>
          <a:prstGeom prst="rect">
            <a:avLst/>
          </a:prstGeom>
        </p:spPr>
      </p:pic>
      <p:pic>
        <p:nvPicPr>
          <p:cNvPr id="6" name="图形 3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471910" y="6137910"/>
            <a:ext cx="720090" cy="72009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612000" y="781200"/>
            <a:ext cx="10976400" cy="626400"/>
          </a:xfrm>
        </p:spPr>
        <p:txBody>
          <a:bodyPr anchor="ctr"/>
          <a:lstStyle>
            <a:lvl1pPr algn="ctr">
              <a:defRPr sz="3600"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11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12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fld id="{49AE70B2-8BF9-45C0-BB95-33D1B9D3A854}" type="slidenum">
              <a:rPr lang="zh-CN" altLang="en-US" smtClean="0"/>
            </a:fld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3"/>
            <p:custDataLst>
              <p:tags r:id="rId13"/>
            </p:custDataLst>
          </p:nvPr>
        </p:nvSpPr>
        <p:spPr>
          <a:xfrm>
            <a:off x="612000" y="1659600"/>
            <a:ext cx="10975975" cy="828000"/>
          </a:xfrm>
        </p:spPr>
        <p:txBody>
          <a:bodyPr/>
          <a:lstStyle>
            <a:lvl1pPr algn="ctr">
              <a:defRPr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9" name="内容占位符 8"/>
          <p:cNvSpPr>
            <a:spLocks noGrp="1"/>
          </p:cNvSpPr>
          <p:nvPr>
            <p:ph sz="quarter" idx="14"/>
            <p:custDataLst>
              <p:tags r:id="rId14"/>
            </p:custDataLst>
          </p:nvPr>
        </p:nvSpPr>
        <p:spPr>
          <a:xfrm>
            <a:off x="612775" y="2808000"/>
            <a:ext cx="10965600" cy="343080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下上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>
            <p:custDataLst>
              <p:tags r:id="rId2"/>
            </p:custDataLst>
          </p:nvPr>
        </p:nvSpPr>
        <p:spPr>
          <a:xfrm>
            <a:off x="0" y="5029200"/>
            <a:ext cx="12189600" cy="18288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pic>
        <p:nvPicPr>
          <p:cNvPr id="8" name="图形 5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0"/>
            <a:ext cx="720090" cy="720090"/>
          </a:xfrm>
          <a:prstGeom prst="rect">
            <a:avLst/>
          </a:prstGeom>
        </p:spPr>
      </p:pic>
      <p:pic>
        <p:nvPicPr>
          <p:cNvPr id="6" name="图形 3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471910" y="-5379"/>
            <a:ext cx="720090" cy="72009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604800" y="669600"/>
            <a:ext cx="10976400" cy="565200"/>
          </a:xfrm>
        </p:spPr>
        <p:txBody>
          <a:bodyPr anchor="ctr" anchorCtr="0"/>
          <a:lstStyle>
            <a:lvl1pPr algn="ctr">
              <a:defRPr sz="3200"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11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12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fld id="{49AE70B2-8BF9-45C0-BB95-33D1B9D3A854}" type="slidenum">
              <a:rPr lang="zh-CN" altLang="en-US" smtClean="0"/>
            </a:fld>
            <a:endParaRPr lang="zh-CN" altLang="en-US" dirty="0"/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  <p:custDataLst>
              <p:tags r:id="rId13"/>
            </p:custDataLst>
          </p:nvPr>
        </p:nvSpPr>
        <p:spPr>
          <a:xfrm>
            <a:off x="604837" y="1681200"/>
            <a:ext cx="10990800" cy="321120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9" name="文本占位符 8"/>
          <p:cNvSpPr>
            <a:spLocks noGrp="1"/>
          </p:cNvSpPr>
          <p:nvPr>
            <p:ph type="body" sz="quarter" idx="14"/>
            <p:custDataLst>
              <p:tags r:id="rId14"/>
            </p:custDataLst>
          </p:nvPr>
        </p:nvSpPr>
        <p:spPr>
          <a:xfrm>
            <a:off x="594000" y="5180400"/>
            <a:ext cx="11001600" cy="101160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导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>
            <p:custDataLst>
              <p:tags r:id="rId2"/>
            </p:custDataLst>
          </p:nvPr>
        </p:nvSpPr>
        <p:spPr>
          <a:xfrm>
            <a:off x="0" y="-10800"/>
            <a:ext cx="12189600" cy="91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pic>
        <p:nvPicPr>
          <p:cNvPr id="8" name="图形 5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469510" y="-10800"/>
            <a:ext cx="720090" cy="720090"/>
          </a:xfrm>
          <a:prstGeom prst="rect">
            <a:avLst/>
          </a:prstGeom>
        </p:spPr>
      </p:pic>
      <p:pic>
        <p:nvPicPr>
          <p:cNvPr id="6" name="图形 3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6137910"/>
            <a:ext cx="720090" cy="72009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579600" y="237600"/>
            <a:ext cx="11037600" cy="441964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11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12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fld id="{49AE70B2-8BF9-45C0-BB95-33D1B9D3A854}" type="slidenum">
              <a:rPr lang="zh-CN" altLang="en-US" smtClean="0"/>
            </a:fld>
            <a:endParaRPr lang="zh-CN" altLang="en-US" dirty="0"/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  <p:custDataLst>
              <p:tags r:id="rId13"/>
            </p:custDataLst>
          </p:nvPr>
        </p:nvSpPr>
        <p:spPr>
          <a:xfrm>
            <a:off x="579600" y="1663200"/>
            <a:ext cx="5342400" cy="289440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9" name="内容占位符 8"/>
          <p:cNvSpPr>
            <a:spLocks noGrp="1"/>
          </p:cNvSpPr>
          <p:nvPr>
            <p:ph sz="quarter" idx="14"/>
            <p:custDataLst>
              <p:tags r:id="rId14"/>
            </p:custDataLst>
          </p:nvPr>
        </p:nvSpPr>
        <p:spPr>
          <a:xfrm>
            <a:off x="6242400" y="1663200"/>
            <a:ext cx="5367600" cy="289440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11" name="文本占位符 10"/>
          <p:cNvSpPr>
            <a:spLocks noGrp="1"/>
          </p:cNvSpPr>
          <p:nvPr>
            <p:ph type="body" sz="quarter" idx="15"/>
            <p:custDataLst>
              <p:tags r:id="rId15"/>
            </p:custDataLst>
          </p:nvPr>
        </p:nvSpPr>
        <p:spPr>
          <a:xfrm>
            <a:off x="572400" y="4816800"/>
            <a:ext cx="5342400" cy="78120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13" name="文本占位符 12"/>
          <p:cNvSpPr>
            <a:spLocks noGrp="1"/>
          </p:cNvSpPr>
          <p:nvPr>
            <p:ph type="body" sz="quarter" idx="16"/>
            <p:custDataLst>
              <p:tags r:id="rId16"/>
            </p:custDataLst>
          </p:nvPr>
        </p:nvSpPr>
        <p:spPr>
          <a:xfrm>
            <a:off x="6253200" y="4813200"/>
            <a:ext cx="5367600" cy="78120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腰带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>
            <p:custDataLst>
              <p:tags r:id="rId2"/>
            </p:custDataLst>
          </p:nvPr>
        </p:nvSpPr>
        <p:spPr>
          <a:xfrm>
            <a:off x="0" y="959400"/>
            <a:ext cx="12189600" cy="4939195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pic>
        <p:nvPicPr>
          <p:cNvPr id="8" name="图形 5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438461" y="5104461"/>
            <a:ext cx="1753527" cy="1753527"/>
          </a:xfrm>
          <a:prstGeom prst="rect">
            <a:avLst/>
          </a:prstGeom>
        </p:spPr>
      </p:pic>
      <p:pic>
        <p:nvPicPr>
          <p:cNvPr id="6" name="图形 3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-10802"/>
            <a:ext cx="1753527" cy="1753527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 hasCustomPrompt="1"/>
            <p:custDataLst>
              <p:tags r:id="rId9"/>
            </p:custDataLst>
          </p:nvPr>
        </p:nvSpPr>
        <p:spPr>
          <a:xfrm>
            <a:off x="1522800" y="1339200"/>
            <a:ext cx="9144000" cy="2386800"/>
          </a:xfrm>
        </p:spPr>
        <p:txBody>
          <a:bodyPr anchor="b"/>
          <a:lstStyle>
            <a:lvl1pPr algn="ctr">
              <a:defRPr sz="6000"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标题</a:t>
            </a:r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11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12"/>
            </p:custDataLst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fld id="{49AE70B2-8BF9-45C0-BB95-33D1B9D3A854}" type="slidenum">
              <a:rPr lang="zh-CN" altLang="en-US" smtClean="0"/>
            </a:fld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3"/>
            <p:custDataLst>
              <p:tags r:id="rId13"/>
            </p:custDataLst>
          </p:nvPr>
        </p:nvSpPr>
        <p:spPr>
          <a:xfrm>
            <a:off x="1522413" y="3862800"/>
            <a:ext cx="9144000" cy="1656000"/>
          </a:xfrm>
        </p:spPr>
        <p:txBody>
          <a:bodyPr/>
          <a:lstStyle>
            <a:lvl1pPr algn="ctr">
              <a:defRPr baseline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形 4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1346202" y="3001963"/>
            <a:ext cx="6426198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346202" y="5308199"/>
            <a:ext cx="64261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1346204" y="5011928"/>
            <a:ext cx="64261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1346202" y="4850767"/>
            <a:ext cx="6426198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 descr="背景图案&#10;&#10;描述已自动生成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-37" y="0"/>
            <a:ext cx="12192075" cy="6858000"/>
          </a:xfrm>
          <a:prstGeom prst="rect">
            <a:avLst/>
          </a:prstGeom>
        </p:spPr>
      </p:pic>
      <p:sp>
        <p:nvSpPr>
          <p:cNvPr id="16" name="日期占位符 1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17" name="页脚占位符 1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endParaRPr lang="zh-CN" altLang="en-US" dirty="0"/>
          </a:p>
        </p:txBody>
      </p:sp>
      <p:sp>
        <p:nvSpPr>
          <p:cNvPr id="18" name="灯片编号占位符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fld id="{49AE70B2-8BF9-45C0-BB95-33D1B9D3A854}" type="slidenum">
              <a:rPr lang="zh-CN" altLang="en-US" smtClean="0"/>
            </a:fld>
            <a:endParaRPr lang="zh-CN" altLang="en-US" dirty="0"/>
          </a:p>
        </p:txBody>
      </p:sp>
      <p:sp>
        <p:nvSpPr>
          <p:cNvPr id="2" name="标题 2"/>
          <p:cNvSpPr/>
          <p:nvPr>
            <p:ph type="ctrTitle" idx="1" hasCustomPrompt="1"/>
            <p:custDataLst>
              <p:tags r:id="rId4"/>
            </p:custDataLst>
          </p:nvPr>
        </p:nvSpPr>
        <p:spPr>
          <a:xfrm>
            <a:off x="2153285" y="2343451"/>
            <a:ext cx="7885836" cy="1626893"/>
          </a:xfrm>
          <a:noFill/>
        </p:spPr>
        <p:txBody>
          <a:bodyPr vert="horz" wrap="square" lIns="0" tIns="0" rIns="0" bIns="0" rtlCol="0" anchor="ctr" anchorCtr="0">
            <a:normAutofit/>
          </a:bodyPr>
          <a:lstStyle>
            <a:lvl1pPr marL="0" marR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lang="zh-CN" altLang="en-US" sz="9800" b="0" i="0" u="none" strike="noStrike" kern="0" cap="none" spc="0" normalizeH="0" baseline="0" noProof="1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ea typeface="汉仪粗黑 简" charset="0"/>
                <a:cs typeface="+mj-cs"/>
              </a:defRPr>
            </a:lvl1pPr>
          </a:lstStyle>
          <a:p>
            <a:pPr lvl="0"/>
            <a:r>
              <a:rPr>
                <a:sym typeface="+mn-ea"/>
              </a:rPr>
              <a:t>编辑标题</a:t>
            </a:r>
            <a:endParaRPr>
              <a:sym typeface="+mn-ea"/>
            </a:endParaRPr>
          </a:p>
        </p:txBody>
      </p:sp>
      <p:sp>
        <p:nvSpPr>
          <p:cNvPr id="4" name="副标题 3"/>
          <p:cNvSpPr/>
          <p:nvPr>
            <p:ph type="subTitle" idx="2" hasCustomPrompt="1"/>
            <p:custDataLst>
              <p:tags r:id="rId5"/>
            </p:custDataLst>
          </p:nvPr>
        </p:nvSpPr>
        <p:spPr>
          <a:xfrm>
            <a:off x="7181131" y="3994323"/>
            <a:ext cx="2222121" cy="489613"/>
          </a:xfrm>
          <a:noFill/>
        </p:spPr>
        <p:txBody>
          <a:bodyPr vert="horz" wrap="square" lIns="0" tIns="0" rIns="0" bIns="0" rtlCol="0" anchor="ctr">
            <a:normAutofit/>
          </a:bodyPr>
          <a:lstStyle>
            <a:lvl1pPr marL="0" marR="0" indent="-22860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lang="zh-CN" altLang="en-US" sz="3100" b="0" i="0" u="none" strike="noStrike" kern="0" cap="none" spc="300" normalizeH="0" baseline="0" noProof="1" dirty="0">
                <a:ln>
                  <a:noFill/>
                </a:ln>
                <a:solidFill>
                  <a:schemeClr val="dk1">
                    <a:lumMod val="85000"/>
                    <a:lumOff val="15000"/>
                  </a:schemeClr>
                </a:solidFill>
                <a:effectLst/>
                <a:uFillTx/>
                <a:latin typeface="Arial" panose="020B0604020202020204" pitchFamily="34" charset="0"/>
                <a:ea typeface="汉仪粗简黑简" charset="0"/>
                <a:cs typeface="+mj-cs"/>
                <a:sym typeface="+mn-ea"/>
              </a:defRPr>
            </a:lvl1pPr>
            <a:lvl2pPr marL="68580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1609725" algn="l"/>
              </a:tabLst>
              <a:defRPr sz="1600" u="none" strike="noStrike" kern="1200" cap="none" spc="150" normalizeH="0" baseline="0">
                <a:solidFill>
                  <a:schemeClr val="tx1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600" u="none" strike="noStrike" kern="1200" cap="none" spc="150" normalizeH="0" baseline="0">
                <a:solidFill>
                  <a:schemeClr val="tx1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600" u="none" strike="noStrike" kern="1200" cap="none" spc="150" normalizeH="0" baseline="0">
                <a:solidFill>
                  <a:schemeClr val="tx1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600" u="none" strike="noStrike" kern="1200" cap="none" spc="150" normalizeH="0" baseline="0">
                <a:solidFill>
                  <a:schemeClr val="tx1"/>
                </a:solidFill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>
                <a:sym typeface="+mn-ea"/>
              </a:rPr>
              <a:t>单击此处编辑副标题</a:t>
            </a:r>
            <a:endParaRPr>
              <a:sym typeface="+mn-ea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图形用户界面, 文本, 应用程序&#10;&#10;描述已自动生成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-37" y="0"/>
            <a:ext cx="12192075" cy="685800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882" y="443234"/>
            <a:ext cx="10852237" cy="441964"/>
          </a:xfrm>
        </p:spPr>
        <p:txBody>
          <a:bodyPr vert="horz" lIns="90170" tIns="46990" rIns="90170" bIns="46990" rtlCol="0" anchor="ctr" anchorCtr="0">
            <a:no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2400" b="1" i="0" u="none" strike="noStrike" kern="1200" cap="none" spc="20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汉仪粗简黑简" charset="0"/>
                <a:cs typeface="+mj-cs"/>
                <a:sym typeface="+mn-ea"/>
              </a:defRPr>
            </a:lvl1pPr>
          </a:lstStyle>
          <a:p>
            <a:pPr lvl="0"/>
            <a:r>
              <a:rPr dirty="0">
                <a:sym typeface="+mn-ea"/>
              </a:rPr>
              <a:t>单击此处编辑母版标题样式</a:t>
            </a:r>
            <a:endParaRPr dirty="0"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69882" y="952508"/>
            <a:ext cx="10852237" cy="5388907"/>
          </a:xfrm>
        </p:spPr>
        <p:txBody>
          <a:bodyPr vert="horz" lIns="90170" tIns="46990" rIns="90170" bIns="46990" rtlCol="0">
            <a:norm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汉仪粗简黑简" charset="0"/>
                <a:cs typeface="+mn-cs"/>
                <a:sym typeface="+mn-ea"/>
              </a:defRPr>
            </a:lvl1pPr>
            <a:lvl2pPr marL="685800" marR="0" lvl="1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1609725" algn="l"/>
              </a:tabLst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汉仪粗简黑简" charset="0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汉仪粗简黑简" charset="0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汉仪粗简黑简" charset="0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汉仪粗简黑简" charset="0"/>
                <a:cs typeface="+mn-cs"/>
                <a:sym typeface="+mn-ea"/>
              </a:defRPr>
            </a:lvl5pPr>
          </a:lstStyle>
          <a:p>
            <a:pPr lvl="0"/>
            <a:r>
              <a:rPr dirty="0">
                <a:sym typeface="+mn-ea"/>
              </a:rPr>
              <a:t>单击此处编辑母版文本样式</a:t>
            </a:r>
            <a:endParaRPr dirty="0">
              <a:sym typeface="+mn-ea"/>
            </a:endParaRPr>
          </a:p>
          <a:p>
            <a:pPr lvl="1"/>
            <a:r>
              <a:rPr dirty="0">
                <a:sym typeface="+mn-ea"/>
              </a:rPr>
              <a:t>第二级</a:t>
            </a:r>
            <a:endParaRPr dirty="0">
              <a:sym typeface="+mn-ea"/>
            </a:endParaRPr>
          </a:p>
          <a:p>
            <a:pPr lvl="2"/>
            <a:r>
              <a:rPr dirty="0">
                <a:sym typeface="+mn-ea"/>
              </a:rPr>
              <a:t>第三级</a:t>
            </a:r>
            <a:endParaRPr dirty="0">
              <a:sym typeface="+mn-ea"/>
            </a:endParaRPr>
          </a:p>
          <a:p>
            <a:pPr lvl="3"/>
            <a:r>
              <a:rPr dirty="0">
                <a:sym typeface="+mn-ea"/>
              </a:rPr>
              <a:t>第四级</a:t>
            </a:r>
            <a:endParaRPr dirty="0">
              <a:sym typeface="+mn-ea"/>
            </a:endParaRPr>
          </a:p>
          <a:p>
            <a:pPr lvl="4"/>
            <a:r>
              <a:rPr dirty="0">
                <a:sym typeface="+mn-ea"/>
              </a:rPr>
              <a:t>第五级</a:t>
            </a:r>
            <a:endParaRPr dirty="0">
              <a:sym typeface="+mn-ea"/>
            </a:endParaRP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 descr="图形用户界面, 文本, 应用程序, 聊天或短信&#10;&#10;描述已自动生成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-37" y="0"/>
            <a:ext cx="12192075" cy="6858000"/>
          </a:xfrm>
          <a:prstGeom prst="rect">
            <a:avLst/>
          </a:prstGeom>
        </p:spPr>
      </p:pic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2" name="标题 1"/>
          <p:cNvSpPr/>
          <p:nvPr>
            <p:ph type="ctrTitle" idx="1" hasCustomPrompt="1"/>
            <p:custDataLst>
              <p:tags r:id="rId4"/>
            </p:custDataLst>
          </p:nvPr>
        </p:nvSpPr>
        <p:spPr>
          <a:xfrm>
            <a:off x="4845585" y="2717106"/>
            <a:ext cx="3898366" cy="836235"/>
          </a:xfrm>
          <a:noFill/>
        </p:spPr>
        <p:txBody>
          <a:bodyPr vert="horz" wrap="square" lIns="101600" tIns="38100" rIns="76200" bIns="38100" rtlCol="0" anchor="b" anchorCtr="0">
            <a:norm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kumimoji="0" lang="zh-CN" altLang="en-US" sz="4400" b="1" i="0" u="none" strike="noStrike" kern="1200" cap="none" spc="0" normalizeH="0" baseline="0" noProof="1" dirty="0">
                <a:solidFill>
                  <a:schemeClr val="dk1"/>
                </a:solidFill>
                <a:uFillTx/>
                <a:latin typeface="Arial" panose="020B0604020202020204" pitchFamily="34" charset="0"/>
                <a:ea typeface="汉仪粗黑 简" charset="0"/>
                <a:cs typeface="+mn-cs"/>
              </a:defRPr>
            </a:lvl1pPr>
          </a:lstStyle>
          <a:p>
            <a:pPr lvl="0"/>
            <a:r>
              <a:rPr>
                <a:sym typeface="+mn-ea"/>
              </a:rPr>
              <a:t>编辑标题</a:t>
            </a:r>
            <a:endParaRPr>
              <a:sym typeface="+mn-ea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5.xml"/><Relationship Id="rId8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Relationship Id="rId3" Type="http://schemas.openxmlformats.org/officeDocument/2006/relationships/slideLayout" Target="../slideLayouts/slideLayout9.xml"/><Relationship Id="rId22" Type="http://schemas.openxmlformats.org/officeDocument/2006/relationships/theme" Target="../theme/theme2.xml"/><Relationship Id="rId21" Type="http://schemas.openxmlformats.org/officeDocument/2006/relationships/tags" Target="../tags/tag71.xml"/><Relationship Id="rId20" Type="http://schemas.openxmlformats.org/officeDocument/2006/relationships/tags" Target="../tags/tag70.xml"/><Relationship Id="rId2" Type="http://schemas.openxmlformats.org/officeDocument/2006/relationships/slideLayout" Target="../slideLayouts/slideLayout8.xml"/><Relationship Id="rId19" Type="http://schemas.openxmlformats.org/officeDocument/2006/relationships/tags" Target="../tags/tag69.xml"/><Relationship Id="rId18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16.xml"/><Relationship Id="rId1" Type="http://schemas.openxmlformats.org/officeDocument/2006/relationships/slideLayout" Target="../slideLayouts/slideLayout7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3.xml"/><Relationship Id="rId8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7.xml"/><Relationship Id="rId22" Type="http://schemas.openxmlformats.org/officeDocument/2006/relationships/theme" Target="../theme/theme3.xml"/><Relationship Id="rId21" Type="http://schemas.openxmlformats.org/officeDocument/2006/relationships/tags" Target="../tags/tag159.xml"/><Relationship Id="rId20" Type="http://schemas.openxmlformats.org/officeDocument/2006/relationships/tags" Target="../tags/tag158.xml"/><Relationship Id="rId2" Type="http://schemas.openxmlformats.org/officeDocument/2006/relationships/slideLayout" Target="../slideLayouts/slideLayout26.xml"/><Relationship Id="rId19" Type="http://schemas.openxmlformats.org/officeDocument/2006/relationships/tags" Target="../tags/tag157.xml"/><Relationship Id="rId18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34.xml"/><Relationship Id="rId1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9" name="页脚占位符 8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669882" y="443230"/>
            <a:ext cx="10852237" cy="441964"/>
          </a:xfrm>
          <a:prstGeom prst="rect">
            <a:avLst/>
          </a:prstGeom>
        </p:spPr>
        <p:txBody>
          <a:bodyPr vert="horz" wrap="square" lIns="90170" tIns="46990" rIns="90170" bIns="46990" rtlCol="0" anchor="ctr" anchorCtr="0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  <p:custDataLst>
              <p:tags r:id="rId20"/>
            </p:custDataLst>
          </p:nvPr>
        </p:nvSpPr>
        <p:spPr>
          <a:xfrm>
            <a:off x="669882" y="961398"/>
            <a:ext cx="10852237" cy="5388907"/>
          </a:xfrm>
          <a:prstGeom prst="rect">
            <a:avLst/>
          </a:prstGeom>
        </p:spPr>
        <p:txBody>
          <a:bodyPr vert="horz" wrap="square" lIns="90170" tIns="46990" rIns="90170" bIns="4699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rm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rmAutofit/>
          </a:bodyPr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49833"/>
            <a:ext cx="2700000" cy="31680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rm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汉仪粗简黑简" charset="0"/>
                <a:cs typeface="汉仪粗简黑简" charset="0"/>
              </a:defRPr>
            </a:lvl1pPr>
          </a:lstStyle>
          <a:p>
            <a:fld id="{49AE70B2-8BF9-45C0-BB95-33D1B9D3A854}" type="slidenum">
              <a:rPr lang="zh-CN" altLang="en-US" smtClean="0"/>
            </a:fld>
            <a:endParaRPr lang="zh-CN" altLang="en-US" dirty="0"/>
          </a:p>
        </p:txBody>
      </p:sp>
      <p:sp>
        <p:nvSpPr>
          <p:cNvPr id="8" name="KSO_TEMPLATE" hidden="1"/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0" cy="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59" r:id="rId4"/>
    <p:sldLayoutId id="2147483660" r:id="rId5"/>
    <p:sldLayoutId id="2147483661" r:id="rId6"/>
    <p:sldLayoutId id="2147483662" r:id="rId7"/>
    <p:sldLayoutId id="2147483663" r:id="rId8"/>
    <p:sldLayoutId id="2147483664" r:id="rId9"/>
    <p:sldLayoutId id="2147483665" r:id="rId10"/>
    <p:sldLayoutId id="2147483666" r:id="rId11"/>
    <p:sldLayoutId id="2147483667" r:id="rId12"/>
    <p:sldLayoutId id="2147483668" r:id="rId13"/>
    <p:sldLayoutId id="2147483669" r:id="rId14"/>
    <p:sldLayoutId id="2147483670" r:id="rId15"/>
    <p:sldLayoutId id="2147483671" r:id="rId16"/>
    <p:sldLayoutId id="2147483672" r:id="rId17"/>
    <p:sldLayoutId id="2147483673" r:id="rId18"/>
  </p:sldLayoutIdLst>
  <p:txStyles>
    <p:titleStyle>
      <a:lvl1pPr algn="l" defTabSz="914400" rtl="0" eaLnBrk="1" fontAlgn="auto" latinLnBrk="0" hangingPunct="1">
        <a:lnSpc>
          <a:spcPct val="100000"/>
        </a:lnSpc>
        <a:spcBef>
          <a:spcPct val="0"/>
        </a:spcBef>
        <a:buNone/>
        <a:defRPr sz="2400" b="1" u="none" strike="noStrike" kern="1200" cap="none" spc="200" normalizeH="0">
          <a:solidFill>
            <a:schemeClr val="tx1"/>
          </a:solidFill>
          <a:uFillTx/>
          <a:latin typeface="Arial" panose="020B0604020202020204" pitchFamily="34" charset="0"/>
          <a:ea typeface="汉仪粗简黑简" charset="0"/>
          <a:cs typeface="+mj-cs"/>
        </a:defRPr>
      </a:lvl1pPr>
    </p:titleStyle>
    <p:bodyStyle>
      <a:lvl1pPr marL="228600" indent="-228600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600" u="none" strike="noStrike" kern="1200" cap="none" spc="150" normalizeH="0" baseline="0">
          <a:solidFill>
            <a:schemeClr val="tx1"/>
          </a:solidFill>
          <a:uFillTx/>
          <a:latin typeface="Arial" panose="020B0604020202020204" pitchFamily="34" charset="0"/>
          <a:ea typeface="汉仪粗简黑简" charset="0"/>
          <a:cs typeface="+mn-cs"/>
        </a:defRPr>
      </a:lvl1pPr>
      <a:lvl2pPr marL="685800" indent="-228600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tabLst>
          <a:tab pos="1609725" algn="l"/>
        </a:tabLst>
        <a:defRPr sz="1600" u="none" strike="noStrike" kern="1200" cap="none" spc="150" normalizeH="0" baseline="0">
          <a:solidFill>
            <a:schemeClr val="tx1"/>
          </a:solidFill>
          <a:uFillTx/>
          <a:latin typeface="Arial" panose="020B0604020202020204" pitchFamily="34" charset="0"/>
          <a:ea typeface="汉仪粗简黑简" charset="0"/>
          <a:cs typeface="+mn-cs"/>
        </a:defRPr>
      </a:lvl2pPr>
      <a:lvl3pPr marL="1143000" indent="-228600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600" u="none" strike="noStrike" kern="1200" cap="none" spc="150" normalizeH="0" baseline="0">
          <a:solidFill>
            <a:schemeClr val="tx1"/>
          </a:solidFill>
          <a:uFillTx/>
          <a:latin typeface="Arial" panose="020B0604020202020204" pitchFamily="34" charset="0"/>
          <a:ea typeface="汉仪粗简黑简" charset="0"/>
          <a:cs typeface="+mn-cs"/>
        </a:defRPr>
      </a:lvl3pPr>
      <a:lvl4pPr marL="1600200" indent="-228600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600" u="none" strike="noStrike" kern="1200" cap="none" spc="150" normalizeH="0" baseline="0">
          <a:solidFill>
            <a:schemeClr val="tx1"/>
          </a:solidFill>
          <a:uFillTx/>
          <a:latin typeface="Arial" panose="020B0604020202020204" pitchFamily="34" charset="0"/>
          <a:ea typeface="汉仪粗简黑简" charset="0"/>
          <a:cs typeface="+mn-cs"/>
        </a:defRPr>
      </a:lvl4pPr>
      <a:lvl5pPr marL="2057400" indent="-228600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600" u="none" strike="noStrike" kern="1200" cap="none" spc="150" normalizeH="0" baseline="0">
          <a:solidFill>
            <a:schemeClr val="tx1"/>
          </a:solidFill>
          <a:uFillTx/>
          <a:latin typeface="Arial" panose="020B0604020202020204" pitchFamily="34" charset="0"/>
          <a:ea typeface="汉仪粗简黑简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669882" y="443230"/>
            <a:ext cx="10852237" cy="441964"/>
          </a:xfrm>
          <a:prstGeom prst="rect">
            <a:avLst/>
          </a:prstGeom>
        </p:spPr>
        <p:txBody>
          <a:bodyPr vert="horz" wrap="square" lIns="90170" tIns="46990" rIns="90170" bIns="46990" rtlCol="0" anchor="ctr" anchorCtr="0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  <p:custDataLst>
              <p:tags r:id="rId20"/>
            </p:custDataLst>
          </p:nvPr>
        </p:nvSpPr>
        <p:spPr>
          <a:xfrm>
            <a:off x="669882" y="961398"/>
            <a:ext cx="10852237" cy="5388907"/>
          </a:xfrm>
          <a:prstGeom prst="rect">
            <a:avLst/>
          </a:prstGeom>
        </p:spPr>
        <p:txBody>
          <a:bodyPr vert="horz" wrap="square" lIns="90170" tIns="46990" rIns="90170" bIns="4699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rm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rmAutofit/>
          </a:bodyPr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49833"/>
            <a:ext cx="2700000" cy="31680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rm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fld id="{49AE70B2-8BF9-45C0-BB95-33D1B9D3A854}" type="slidenum">
              <a:rPr lang="zh-CN" altLang="en-US" smtClean="0"/>
            </a:fld>
            <a:endParaRPr lang="zh-CN" altLang="en-US" dirty="0"/>
          </a:p>
        </p:txBody>
      </p:sp>
      <p:sp>
        <p:nvSpPr>
          <p:cNvPr id="7" name="KSO_TEMPLATE" hidden="1"/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0" cy="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  <p:sldLayoutId id="2147483690" r:id="rId16"/>
    <p:sldLayoutId id="2147483691" r:id="rId17"/>
    <p:sldLayoutId id="2147483692" r:id="rId18"/>
  </p:sldLayoutIdLst>
  <p:txStyles>
    <p:titleStyle>
      <a:lvl1pPr algn="l" defTabSz="914400" rtl="0" eaLnBrk="1" fontAlgn="auto" latinLnBrk="0" hangingPunct="1">
        <a:lnSpc>
          <a:spcPct val="100000"/>
        </a:lnSpc>
        <a:spcBef>
          <a:spcPct val="0"/>
        </a:spcBef>
        <a:buNone/>
        <a:defRPr sz="2400" b="1" u="none" strike="noStrike" kern="1200" cap="none" spc="200" normalizeH="0">
          <a:solidFill>
            <a:schemeClr val="tx1"/>
          </a:solidFill>
          <a:uFillTx/>
          <a:latin typeface="Arial" panose="020B0604020202020204" pitchFamily="34" charset="0"/>
          <a:ea typeface="微软雅黑" panose="020B0503020204020204" pitchFamily="34" charset="-122"/>
          <a:cs typeface="+mj-cs"/>
        </a:defRPr>
      </a:lvl1pPr>
    </p:titleStyle>
    <p:bodyStyle>
      <a:lvl1pPr marL="228600" indent="-228600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600" u="none" strike="noStrike" kern="1200" cap="none" spc="150" normalizeH="0" baseline="0">
          <a:solidFill>
            <a:schemeClr val="tx1"/>
          </a:solidFill>
          <a:uFillTx/>
          <a:latin typeface="Arial" panose="020B0604020202020204" pitchFamily="34" charset="0"/>
          <a:ea typeface="微软雅黑" panose="020B0503020204020204" pitchFamily="34" charset="-122"/>
          <a:cs typeface="+mn-cs"/>
        </a:defRPr>
      </a:lvl1pPr>
      <a:lvl2pPr marL="685800" indent="-228600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tabLst>
          <a:tab pos="1609725" algn="l"/>
        </a:tabLst>
        <a:defRPr sz="1600" u="none" strike="noStrike" kern="1200" cap="none" spc="150" normalizeH="0" baseline="0">
          <a:solidFill>
            <a:schemeClr val="tx1"/>
          </a:solidFill>
          <a:uFillTx/>
          <a:latin typeface="Arial" panose="020B0604020202020204" pitchFamily="34" charset="0"/>
          <a:ea typeface="微软雅黑" panose="020B0503020204020204" pitchFamily="34" charset="-122"/>
          <a:cs typeface="+mn-cs"/>
        </a:defRPr>
      </a:lvl2pPr>
      <a:lvl3pPr marL="1143000" indent="-228600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600" u="none" strike="noStrike" kern="1200" cap="none" spc="150" normalizeH="0" baseline="0">
          <a:solidFill>
            <a:schemeClr val="tx1"/>
          </a:solidFill>
          <a:uFillTx/>
          <a:latin typeface="Arial" panose="020B0604020202020204" pitchFamily="34" charset="0"/>
          <a:ea typeface="微软雅黑" panose="020B0503020204020204" pitchFamily="34" charset="-122"/>
          <a:cs typeface="+mn-cs"/>
        </a:defRPr>
      </a:lvl3pPr>
      <a:lvl4pPr marL="1600200" indent="-228600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600" u="none" strike="noStrike" kern="1200" cap="none" spc="150" normalizeH="0" baseline="0">
          <a:solidFill>
            <a:schemeClr val="tx1"/>
          </a:solidFill>
          <a:uFillTx/>
          <a:latin typeface="Arial" panose="020B0604020202020204" pitchFamily="34" charset="0"/>
          <a:ea typeface="微软雅黑" panose="020B0503020204020204" pitchFamily="34" charset="-122"/>
          <a:cs typeface="+mn-cs"/>
        </a:defRPr>
      </a:lvl4pPr>
      <a:lvl5pPr marL="2057400" indent="-228600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600" u="none" strike="noStrike" kern="1200" cap="none" spc="150" normalizeH="0" baseline="0">
          <a:solidFill>
            <a:schemeClr val="tx1"/>
          </a:solidFill>
          <a:uFillTx/>
          <a:latin typeface="Arial" panose="020B0604020202020204" pitchFamily="34" charset="0"/>
          <a:ea typeface="微软雅黑" panose="020B0503020204020204" pitchFamily="34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.vml"/><Relationship Id="rId6" Type="http://schemas.openxmlformats.org/officeDocument/2006/relationships/slideLayout" Target="../slideLayouts/slideLayout25.xml"/><Relationship Id="rId5" Type="http://schemas.openxmlformats.org/officeDocument/2006/relationships/tags" Target="../tags/tag162.xml"/><Relationship Id="rId4" Type="http://schemas.openxmlformats.org/officeDocument/2006/relationships/image" Target="../media/image11.emf"/><Relationship Id="rId3" Type="http://schemas.openxmlformats.org/officeDocument/2006/relationships/oleObject" Target="../embeddings/oleObject1.bin"/><Relationship Id="rId2" Type="http://schemas.openxmlformats.org/officeDocument/2006/relationships/tags" Target="../tags/tag161.xml"/><Relationship Id="rId1" Type="http://schemas.openxmlformats.org/officeDocument/2006/relationships/tags" Target="../tags/tag160.xml"/></Relationships>
</file>

<file path=ppt/slides/_rels/slide2.xml.rels><?xml version="1.0" encoding="UTF-8" standalone="yes"?>
<Relationships xmlns="http://schemas.openxmlformats.org/package/2006/relationships"><Relationship Id="rId9" Type="http://schemas.openxmlformats.org/officeDocument/2006/relationships/tags" Target="../tags/tag171.xml"/><Relationship Id="rId8" Type="http://schemas.openxmlformats.org/officeDocument/2006/relationships/tags" Target="../tags/tag170.xml"/><Relationship Id="rId7" Type="http://schemas.openxmlformats.org/officeDocument/2006/relationships/tags" Target="../tags/tag169.xml"/><Relationship Id="rId6" Type="http://schemas.openxmlformats.org/officeDocument/2006/relationships/tags" Target="../tags/tag168.xml"/><Relationship Id="rId5" Type="http://schemas.openxmlformats.org/officeDocument/2006/relationships/tags" Target="../tags/tag167.xml"/><Relationship Id="rId4" Type="http://schemas.openxmlformats.org/officeDocument/2006/relationships/tags" Target="../tags/tag166.xml"/><Relationship Id="rId3" Type="http://schemas.openxmlformats.org/officeDocument/2006/relationships/tags" Target="../tags/tag165.xml"/><Relationship Id="rId2" Type="http://schemas.openxmlformats.org/officeDocument/2006/relationships/tags" Target="../tags/tag164.xml"/><Relationship Id="rId14" Type="http://schemas.openxmlformats.org/officeDocument/2006/relationships/slideLayout" Target="../slideLayouts/slideLayout13.xml"/><Relationship Id="rId13" Type="http://schemas.openxmlformats.org/officeDocument/2006/relationships/tags" Target="../tags/tag175.xml"/><Relationship Id="rId12" Type="http://schemas.openxmlformats.org/officeDocument/2006/relationships/tags" Target="../tags/tag174.xml"/><Relationship Id="rId11" Type="http://schemas.openxmlformats.org/officeDocument/2006/relationships/tags" Target="../tags/tag173.xml"/><Relationship Id="rId10" Type="http://schemas.openxmlformats.org/officeDocument/2006/relationships/tags" Target="../tags/tag172.xml"/><Relationship Id="rId1" Type="http://schemas.openxmlformats.org/officeDocument/2006/relationships/tags" Target="../tags/tag163.xml"/></Relationships>
</file>

<file path=ppt/slides/_rels/slide3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13.xml"/><Relationship Id="rId4" Type="http://schemas.openxmlformats.org/officeDocument/2006/relationships/tags" Target="../tags/tag178.xml"/><Relationship Id="rId3" Type="http://schemas.openxmlformats.org/officeDocument/2006/relationships/tags" Target="../tags/tag177.xml"/><Relationship Id="rId2" Type="http://schemas.openxmlformats.org/officeDocument/2006/relationships/image" Target="../media/image3.jpeg"/><Relationship Id="rId1" Type="http://schemas.openxmlformats.org/officeDocument/2006/relationships/tags" Target="../tags/tag176.xml"/></Relationships>
</file>

<file path=ppt/slides/_rels/slide4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13.xml"/><Relationship Id="rId5" Type="http://schemas.openxmlformats.org/officeDocument/2006/relationships/tags" Target="../tags/tag181.xml"/><Relationship Id="rId4" Type="http://schemas.openxmlformats.org/officeDocument/2006/relationships/image" Target="../media/image12.png"/><Relationship Id="rId3" Type="http://schemas.openxmlformats.org/officeDocument/2006/relationships/tags" Target="../tags/tag180.xml"/><Relationship Id="rId2" Type="http://schemas.openxmlformats.org/officeDocument/2006/relationships/image" Target="../media/image3.jpeg"/><Relationship Id="rId1" Type="http://schemas.openxmlformats.org/officeDocument/2006/relationships/tags" Target="../tags/tag179.xml"/></Relationships>
</file>

<file path=ppt/slides/_rels/slide5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13.xml"/><Relationship Id="rId6" Type="http://schemas.openxmlformats.org/officeDocument/2006/relationships/tags" Target="../tags/tag184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Relationship Id="rId3" Type="http://schemas.openxmlformats.org/officeDocument/2006/relationships/tags" Target="../tags/tag183.xml"/><Relationship Id="rId2" Type="http://schemas.openxmlformats.org/officeDocument/2006/relationships/image" Target="../media/image3.jpeg"/><Relationship Id="rId1" Type="http://schemas.openxmlformats.org/officeDocument/2006/relationships/tags" Target="../tags/tag182.xml"/></Relationships>
</file>

<file path=ppt/slides/_rels/slide6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13.xml"/><Relationship Id="rId5" Type="http://schemas.openxmlformats.org/officeDocument/2006/relationships/tags" Target="../tags/tag187.xml"/><Relationship Id="rId4" Type="http://schemas.openxmlformats.org/officeDocument/2006/relationships/image" Target="../media/image15.png"/><Relationship Id="rId3" Type="http://schemas.openxmlformats.org/officeDocument/2006/relationships/tags" Target="../tags/tag186.xml"/><Relationship Id="rId2" Type="http://schemas.openxmlformats.org/officeDocument/2006/relationships/image" Target="../media/image3.jpeg"/><Relationship Id="rId1" Type="http://schemas.openxmlformats.org/officeDocument/2006/relationships/tags" Target="../tags/tag185.xml"/></Relationships>
</file>

<file path=ppt/slides/_rels/slide7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13.xml"/><Relationship Id="rId4" Type="http://schemas.openxmlformats.org/officeDocument/2006/relationships/tags" Target="../tags/tag190.xml"/><Relationship Id="rId3" Type="http://schemas.openxmlformats.org/officeDocument/2006/relationships/tags" Target="../tags/tag189.xml"/><Relationship Id="rId2" Type="http://schemas.openxmlformats.org/officeDocument/2006/relationships/image" Target="../media/image3.jpeg"/><Relationship Id="rId1" Type="http://schemas.openxmlformats.org/officeDocument/2006/relationships/tags" Target="../tags/tag188.xml"/></Relationships>
</file>

<file path=ppt/slides/_rels/slide8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13.xml"/><Relationship Id="rId4" Type="http://schemas.openxmlformats.org/officeDocument/2006/relationships/tags" Target="../tags/tag193.xml"/><Relationship Id="rId3" Type="http://schemas.openxmlformats.org/officeDocument/2006/relationships/tags" Target="../tags/tag192.xml"/><Relationship Id="rId2" Type="http://schemas.openxmlformats.org/officeDocument/2006/relationships/image" Target="../media/image3.jpeg"/><Relationship Id="rId1" Type="http://schemas.openxmlformats.org/officeDocument/2006/relationships/tags" Target="../tags/tag191.xml"/></Relationships>
</file>

<file path=ppt/slides/_rels/slide9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.vml"/><Relationship Id="rId5" Type="http://schemas.openxmlformats.org/officeDocument/2006/relationships/slideLayout" Target="../slideLayouts/slideLayout17.xml"/><Relationship Id="rId4" Type="http://schemas.openxmlformats.org/officeDocument/2006/relationships/tags" Target="../tags/tag195.xml"/><Relationship Id="rId3" Type="http://schemas.openxmlformats.org/officeDocument/2006/relationships/image" Target="../media/image11.emf"/><Relationship Id="rId2" Type="http://schemas.openxmlformats.org/officeDocument/2006/relationships/oleObject" Target="../embeddings/oleObject2.bin"/><Relationship Id="rId1" Type="http://schemas.openxmlformats.org/officeDocument/2006/relationships/tags" Target="../tags/tag19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ŝľiḋ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/>
          <p:nvPr>
            <p:ph type="ctrTitle" idx="2"/>
            <p:custDataLst>
              <p:tags r:id="rId1"/>
            </p:custDataLst>
          </p:nvPr>
        </p:nvSpPr>
        <p:spPr>
          <a:xfrm>
            <a:off x="1650968" y="2505670"/>
            <a:ext cx="5726039" cy="1846659"/>
          </a:xfrm>
        </p:spPr>
        <p:txBody>
          <a:bodyPr>
            <a:normAutofit lnSpcReduction="10000"/>
          </a:bodyPr>
          <a:p>
            <a:pPr marL="0" indent="0" algn="l">
              <a:lnSpc>
                <a:spcPct val="100000"/>
              </a:lnSpc>
              <a:spcBef>
                <a:spcPts val="0"/>
              </a:spcBef>
              <a:buSzPct val="100000"/>
              <a:buNone/>
            </a:pPr>
            <a:r>
              <a:rPr sz="5200" spc="360">
                <a:solidFill>
                  <a:schemeClr val="dk1">
                    <a:lumMod val="85000"/>
                    <a:lumOff val="15000"/>
                  </a:schemeClr>
                </a:solidFill>
                <a:cs typeface="汉仪旗黑-85S" panose="00020600040101010101" pitchFamily="18" charset="-122"/>
              </a:rPr>
              <a:t>个人汇报</a:t>
            </a:r>
            <a:endParaRPr sz="5200" spc="360">
              <a:solidFill>
                <a:schemeClr val="dk1">
                  <a:lumMod val="85000"/>
                  <a:lumOff val="15000"/>
                </a:schemeClr>
              </a:solidFill>
              <a:cs typeface="汉仪旗黑-85S" panose="00020600040101010101" pitchFamily="18" charset="-122"/>
            </a:endParaRPr>
          </a:p>
        </p:txBody>
      </p:sp>
      <p:sp>
        <p:nvSpPr>
          <p:cNvPr id="5" name="副标题 4"/>
          <p:cNvSpPr/>
          <p:nvPr>
            <p:ph type="subTitle" idx="3"/>
            <p:custDataLst>
              <p:tags r:id="rId2"/>
            </p:custDataLst>
          </p:nvPr>
        </p:nvSpPr>
        <p:spPr>
          <a:xfrm>
            <a:off x="7952899" y="2505670"/>
            <a:ext cx="2588133" cy="803762"/>
          </a:xfrm>
        </p:spPr>
        <p:txBody>
          <a:bodyPr>
            <a:normAutofit/>
          </a:bodyPr>
          <a:p>
            <a:pPr marL="0" indent="0" algn="l">
              <a:lnSpc>
                <a:spcPct val="100000"/>
              </a:lnSpc>
              <a:buSzPct val="100000"/>
              <a:buNone/>
            </a:pPr>
            <a:r>
              <a:rPr lang="zh-CN" altLang="en-US" sz="1800" spc="100">
                <a:solidFill>
                  <a:schemeClr val="dk1">
                    <a:lumMod val="65000"/>
                    <a:lumOff val="35000"/>
                  </a:schemeClr>
                </a:solidFill>
              </a:rPr>
              <a:t>蒋梓栩 191220042</a:t>
            </a:r>
            <a:endParaRPr lang="zh-CN" altLang="en-US" sz="1800" spc="100">
              <a:solidFill>
                <a:schemeClr val="dk1">
                  <a:lumMod val="65000"/>
                  <a:lumOff val="35000"/>
                </a:schemeClr>
              </a:solidFill>
            </a:endParaRPr>
          </a:p>
        </p:txBody>
      </p:sp>
      <p:graphicFrame>
        <p:nvGraphicFramePr>
          <p:cNvPr id="2" name="íṡļiḑè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îšľïdé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5"/>
    </p:custData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6" name="椭圆 5"/>
          <p:cNvSpPr/>
          <p:nvPr>
            <p:custDataLst>
              <p:tags r:id="rId1"/>
            </p:custDataLst>
          </p:nvPr>
        </p:nvSpPr>
        <p:spPr>
          <a:xfrm>
            <a:off x="2079273" y="2727139"/>
            <a:ext cx="743468" cy="744899"/>
          </a:xfrm>
          <a:prstGeom prst="ellipse">
            <a:avLst/>
          </a:prstGeom>
          <a:noFill/>
          <a:ln w="38100">
            <a:solidFill>
              <a:srgbClr val="32B7CF"/>
            </a:solidFill>
            <a:prstDash val="sysDot"/>
          </a:ln>
        </p:spPr>
        <p:style>
          <a:lnRef idx="2">
            <a:srgbClr val="F3EDD3">
              <a:shade val="50000"/>
            </a:srgbClr>
          </a:lnRef>
          <a:fillRef idx="1">
            <a:srgbClr val="F3EDD3"/>
          </a:fillRef>
          <a:effectRef idx="0">
            <a:srgbClr val="F3EDD3"/>
          </a:effectRef>
          <a:fontRef idx="minor">
            <a:srgbClr val="FFFFFF"/>
          </a:fontRef>
        </p:style>
        <p:txBody>
          <a:bodyPr rtlCol="0" anchor="ctr"/>
          <a:lstStyle/>
          <a:p>
            <a:pPr algn="ctr"/>
            <a:r>
              <a:rPr lang="en-US" altLang="zh-CN" sz="2400" dirty="0">
                <a:solidFill>
                  <a:srgbClr val="32B7CF"/>
                </a:solidFill>
              </a:rPr>
              <a:t>1</a:t>
            </a:r>
            <a:endParaRPr lang="zh-CN" altLang="en-US" sz="2400" dirty="0">
              <a:solidFill>
                <a:srgbClr val="32B7CF"/>
              </a:solidFill>
            </a:endParaRPr>
          </a:p>
        </p:txBody>
      </p:sp>
      <p:sp>
        <p:nvSpPr>
          <p:cNvPr id="8" name="椭圆 7"/>
          <p:cNvSpPr/>
          <p:nvPr>
            <p:custDataLst>
              <p:tags r:id="rId2"/>
            </p:custDataLst>
          </p:nvPr>
        </p:nvSpPr>
        <p:spPr>
          <a:xfrm>
            <a:off x="7015619" y="2727139"/>
            <a:ext cx="743468" cy="744899"/>
          </a:xfrm>
          <a:prstGeom prst="ellipse">
            <a:avLst/>
          </a:prstGeom>
          <a:noFill/>
          <a:ln w="38100">
            <a:solidFill>
              <a:srgbClr val="000000"/>
            </a:solidFill>
            <a:prstDash val="sysDot"/>
          </a:ln>
        </p:spPr>
        <p:style>
          <a:lnRef idx="2">
            <a:srgbClr val="F3EDD3">
              <a:shade val="50000"/>
            </a:srgbClr>
          </a:lnRef>
          <a:fillRef idx="1">
            <a:srgbClr val="F3EDD3"/>
          </a:fillRef>
          <a:effectRef idx="0">
            <a:srgbClr val="F3EDD3"/>
          </a:effectRef>
          <a:fontRef idx="minor">
            <a:srgbClr val="FFFFFF"/>
          </a:fontRef>
        </p:style>
        <p:txBody>
          <a:bodyPr rtlCol="0" anchor="ctr"/>
          <a:lstStyle/>
          <a:p>
            <a:pPr algn="ctr"/>
            <a:r>
              <a:rPr lang="en-US" altLang="zh-CN" sz="2400" dirty="0">
                <a:solidFill>
                  <a:srgbClr val="000000"/>
                </a:solidFill>
              </a:rPr>
              <a:t>2</a:t>
            </a:r>
            <a:endParaRPr lang="zh-CN" altLang="en-US" sz="2400" dirty="0">
              <a:solidFill>
                <a:srgbClr val="000000"/>
              </a:solidFill>
            </a:endParaRPr>
          </a:p>
        </p:txBody>
      </p:sp>
      <p:sp>
        <p:nvSpPr>
          <p:cNvPr id="3" name="文本框 2"/>
          <p:cNvSpPr txBox="1"/>
          <p:nvPr>
            <p:custDataLst>
              <p:tags r:id="rId3"/>
            </p:custDataLst>
          </p:nvPr>
        </p:nvSpPr>
        <p:spPr>
          <a:xfrm>
            <a:off x="3005722" y="2672206"/>
            <a:ext cx="3530926" cy="854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 anchorCtr="0">
            <a:normAutofit/>
          </a:bodyPr>
          <a:lstStyle>
            <a:defPPr>
              <a:defRPr lang="zh-CN"/>
            </a:defPPr>
            <a:lvl1pPr marR="0" lvl="0" indent="0" defTabSz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4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微软雅黑" panose="020B0503020204020204" pitchFamily="34" charset="-122"/>
              </a:defRPr>
            </a:lvl1pPr>
            <a:lvl2pPr marL="742950" indent="-285750">
              <a:defRPr>
                <a:latin typeface="Calibri" panose="020F0502020204030204" charset="0"/>
                <a:ea typeface="微软雅黑" panose="020B0503020204020204" pitchFamily="34" charset="-122"/>
              </a:defRPr>
            </a:lvl2pPr>
            <a:lvl3pPr marL="1143000" indent="-228600">
              <a:defRPr>
                <a:latin typeface="Calibri" panose="020F0502020204030204" charset="0"/>
                <a:ea typeface="微软雅黑" panose="020B0503020204020204" pitchFamily="34" charset="-122"/>
              </a:defRPr>
            </a:lvl3pPr>
            <a:lvl4pPr marL="1600200" indent="-228600">
              <a:defRPr>
                <a:latin typeface="Calibri" panose="020F0502020204030204" charset="0"/>
                <a:ea typeface="微软雅黑" panose="020B0503020204020204" pitchFamily="34" charset="-122"/>
              </a:defRPr>
            </a:lvl4pPr>
            <a:lvl5pPr marL="2057400" indent="-228600">
              <a:defRPr>
                <a:latin typeface="Calibri" panose="020F0502020204030204" charset="0"/>
                <a:ea typeface="微软雅黑" panose="020B0503020204020204" pitchFamily="34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微软雅黑" panose="020B0503020204020204" pitchFamily="34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微软雅黑" panose="020B0503020204020204" pitchFamily="34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微软雅黑" panose="020B0503020204020204" pitchFamily="34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微软雅黑" panose="020B0503020204020204" pitchFamily="34" charset="-122"/>
              </a:defRPr>
            </a:lvl9pPr>
          </a:lstStyle>
          <a:p>
            <a:r>
              <a:rPr lang="zh-CN" altLang="en-US" sz="2200" dirty="0">
                <a:solidFill>
                  <a:srgbClr val="000000"/>
                </a:solidFill>
                <a:ea typeface="黑体" panose="02010609060101010101" pitchFamily="49" charset="-122"/>
              </a:rPr>
              <a:t>任务</a:t>
            </a:r>
            <a:r>
              <a:rPr lang="zh-CN" altLang="en-US" sz="2200" dirty="0">
                <a:solidFill>
                  <a:srgbClr val="000000"/>
                </a:solidFill>
                <a:ea typeface="黑体" panose="02010609060101010101" pitchFamily="49" charset="-122"/>
              </a:rPr>
              <a:t>清单</a:t>
            </a:r>
            <a:endParaRPr lang="zh-CN" altLang="en-US" sz="2200" dirty="0">
              <a:solidFill>
                <a:srgbClr val="000000"/>
              </a:solidFill>
              <a:ea typeface="黑体" panose="02010609060101010101" pitchFamily="49" charset="-122"/>
            </a:endParaRPr>
          </a:p>
        </p:txBody>
      </p:sp>
      <p:sp>
        <p:nvSpPr>
          <p:cNvPr id="17" name="文本框 16"/>
          <p:cNvSpPr txBox="1"/>
          <p:nvPr>
            <p:custDataLst>
              <p:tags r:id="rId4"/>
            </p:custDataLst>
          </p:nvPr>
        </p:nvSpPr>
        <p:spPr>
          <a:xfrm>
            <a:off x="7922047" y="2672206"/>
            <a:ext cx="3530926" cy="854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 anchorCtr="0">
            <a:normAutofit/>
          </a:bodyPr>
          <a:lstStyle>
            <a:defPPr>
              <a:defRPr lang="zh-CN"/>
            </a:defPPr>
            <a:lvl1pPr marR="0" lvl="0" indent="0" defTabSz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4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微软雅黑" panose="020B0503020204020204" pitchFamily="34" charset="-122"/>
              </a:defRPr>
            </a:lvl1pPr>
            <a:lvl2pPr marL="742950" indent="-285750">
              <a:defRPr>
                <a:latin typeface="Calibri" panose="020F0502020204030204" charset="0"/>
                <a:ea typeface="微软雅黑" panose="020B0503020204020204" pitchFamily="34" charset="-122"/>
              </a:defRPr>
            </a:lvl2pPr>
            <a:lvl3pPr marL="1143000" indent="-228600">
              <a:defRPr>
                <a:latin typeface="Calibri" panose="020F0502020204030204" charset="0"/>
                <a:ea typeface="微软雅黑" panose="020B0503020204020204" pitchFamily="34" charset="-122"/>
              </a:defRPr>
            </a:lvl3pPr>
            <a:lvl4pPr marL="1600200" indent="-228600">
              <a:defRPr>
                <a:latin typeface="Calibri" panose="020F0502020204030204" charset="0"/>
                <a:ea typeface="微软雅黑" panose="020B0503020204020204" pitchFamily="34" charset="-122"/>
              </a:defRPr>
            </a:lvl4pPr>
            <a:lvl5pPr marL="2057400" indent="-228600">
              <a:defRPr>
                <a:latin typeface="Calibri" panose="020F0502020204030204" charset="0"/>
                <a:ea typeface="微软雅黑" panose="020B0503020204020204" pitchFamily="34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微软雅黑" panose="020B0503020204020204" pitchFamily="34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微软雅黑" panose="020B0503020204020204" pitchFamily="34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微软雅黑" panose="020B0503020204020204" pitchFamily="34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微软雅黑" panose="020B0503020204020204" pitchFamily="34" charset="-122"/>
              </a:defRPr>
            </a:lvl9pPr>
          </a:lstStyle>
          <a:p>
            <a:r>
              <a:rPr lang="zh-CN" altLang="en-US" sz="2200" dirty="0">
                <a:solidFill>
                  <a:srgbClr val="000000"/>
                </a:solidFill>
                <a:ea typeface="黑体" panose="02010609060101010101" pitchFamily="49" charset="-122"/>
              </a:rPr>
              <a:t>代码</a:t>
            </a:r>
            <a:r>
              <a:rPr lang="zh-CN" altLang="en-US" sz="2200" dirty="0">
                <a:solidFill>
                  <a:srgbClr val="000000"/>
                </a:solidFill>
                <a:ea typeface="黑体" panose="02010609060101010101" pitchFamily="49" charset="-122"/>
              </a:rPr>
              <a:t>相关</a:t>
            </a:r>
            <a:endParaRPr lang="zh-CN" altLang="en-US" sz="2200" dirty="0">
              <a:solidFill>
                <a:srgbClr val="000000"/>
              </a:solidFill>
              <a:ea typeface="黑体" panose="02010609060101010101" pitchFamily="49" charset="-122"/>
            </a:endParaRPr>
          </a:p>
        </p:txBody>
      </p:sp>
      <p:sp>
        <p:nvSpPr>
          <p:cNvPr id="10" name="椭圆 9"/>
          <p:cNvSpPr/>
          <p:nvPr>
            <p:custDataLst>
              <p:tags r:id="rId5"/>
            </p:custDataLst>
          </p:nvPr>
        </p:nvSpPr>
        <p:spPr>
          <a:xfrm>
            <a:off x="2079273" y="4539049"/>
            <a:ext cx="743468" cy="744899"/>
          </a:xfrm>
          <a:prstGeom prst="ellipse">
            <a:avLst/>
          </a:prstGeom>
          <a:noFill/>
          <a:ln w="38100">
            <a:solidFill>
              <a:srgbClr val="F9C554"/>
            </a:solidFill>
            <a:prstDash val="sysDot"/>
          </a:ln>
        </p:spPr>
        <p:style>
          <a:lnRef idx="2">
            <a:srgbClr val="F3EDD3">
              <a:shade val="50000"/>
            </a:srgbClr>
          </a:lnRef>
          <a:fillRef idx="1">
            <a:srgbClr val="F3EDD3"/>
          </a:fillRef>
          <a:effectRef idx="0">
            <a:srgbClr val="F3EDD3"/>
          </a:effectRef>
          <a:fontRef idx="minor">
            <a:srgbClr val="FFFFFF"/>
          </a:fontRef>
        </p:style>
        <p:txBody>
          <a:bodyPr rtlCol="0" anchor="ctr"/>
          <a:lstStyle/>
          <a:p>
            <a:pPr algn="ctr"/>
            <a:r>
              <a:rPr lang="en-US" altLang="zh-CN" sz="2400" dirty="0">
                <a:solidFill>
                  <a:srgbClr val="F9C554"/>
                </a:solidFill>
              </a:rPr>
              <a:t>3</a:t>
            </a:r>
            <a:endParaRPr lang="zh-CN" altLang="en-US" sz="2400" dirty="0">
              <a:solidFill>
                <a:srgbClr val="F9C554"/>
              </a:solidFill>
            </a:endParaRPr>
          </a:p>
        </p:txBody>
      </p:sp>
      <p:sp>
        <p:nvSpPr>
          <p:cNvPr id="12" name="椭圆 11"/>
          <p:cNvSpPr/>
          <p:nvPr>
            <p:custDataLst>
              <p:tags r:id="rId6"/>
            </p:custDataLst>
          </p:nvPr>
        </p:nvSpPr>
        <p:spPr>
          <a:xfrm>
            <a:off x="7015619" y="4539049"/>
            <a:ext cx="743468" cy="744899"/>
          </a:xfrm>
          <a:prstGeom prst="ellipse">
            <a:avLst/>
          </a:prstGeom>
          <a:noFill/>
          <a:ln w="38100">
            <a:solidFill>
              <a:srgbClr val="4A4A66">
                <a:lumMod val="40000"/>
                <a:lumOff val="60000"/>
              </a:srgbClr>
            </a:solidFill>
            <a:prstDash val="sysDot"/>
          </a:ln>
        </p:spPr>
        <p:style>
          <a:lnRef idx="2">
            <a:srgbClr val="F3EDD3">
              <a:shade val="50000"/>
            </a:srgbClr>
          </a:lnRef>
          <a:fillRef idx="1">
            <a:srgbClr val="F3EDD3"/>
          </a:fillRef>
          <a:effectRef idx="0">
            <a:srgbClr val="F3EDD3"/>
          </a:effectRef>
          <a:fontRef idx="minor">
            <a:srgbClr val="FFFFFF"/>
          </a:fontRef>
        </p:style>
        <p:txBody>
          <a:bodyPr rtlCol="0" anchor="ctr"/>
          <a:lstStyle/>
          <a:p>
            <a:pPr algn="ctr"/>
            <a:r>
              <a:rPr lang="en-US" altLang="zh-CN" sz="2400" dirty="0">
                <a:solidFill>
                  <a:srgbClr val="4A4A66">
                    <a:lumMod val="40000"/>
                    <a:lumOff val="60000"/>
                  </a:srgbClr>
                </a:solidFill>
              </a:rPr>
              <a:t>4</a:t>
            </a:r>
            <a:endParaRPr lang="zh-CN" altLang="en-US" sz="2400" dirty="0">
              <a:solidFill>
                <a:srgbClr val="4A4A6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8" name="文本框 17"/>
          <p:cNvSpPr txBox="1"/>
          <p:nvPr>
            <p:custDataLst>
              <p:tags r:id="rId7"/>
            </p:custDataLst>
          </p:nvPr>
        </p:nvSpPr>
        <p:spPr>
          <a:xfrm>
            <a:off x="3005722" y="4484116"/>
            <a:ext cx="3530926" cy="854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 anchorCtr="0">
            <a:normAutofit/>
          </a:bodyPr>
          <a:lstStyle>
            <a:defPPr>
              <a:defRPr lang="zh-CN"/>
            </a:defPPr>
            <a:lvl1pPr marR="0" lvl="0" indent="0" defTabSz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4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微软雅黑" panose="020B0503020204020204" pitchFamily="34" charset="-122"/>
              </a:defRPr>
            </a:lvl1pPr>
            <a:lvl2pPr marL="742950" indent="-285750">
              <a:defRPr>
                <a:latin typeface="Calibri" panose="020F0502020204030204" charset="0"/>
                <a:ea typeface="微软雅黑" panose="020B0503020204020204" pitchFamily="34" charset="-122"/>
              </a:defRPr>
            </a:lvl2pPr>
            <a:lvl3pPr marL="1143000" indent="-228600">
              <a:defRPr>
                <a:latin typeface="Calibri" panose="020F0502020204030204" charset="0"/>
                <a:ea typeface="微软雅黑" panose="020B0503020204020204" pitchFamily="34" charset="-122"/>
              </a:defRPr>
            </a:lvl3pPr>
            <a:lvl4pPr marL="1600200" indent="-228600">
              <a:defRPr>
                <a:latin typeface="Calibri" panose="020F0502020204030204" charset="0"/>
                <a:ea typeface="微软雅黑" panose="020B0503020204020204" pitchFamily="34" charset="-122"/>
              </a:defRPr>
            </a:lvl4pPr>
            <a:lvl5pPr marL="2057400" indent="-228600">
              <a:defRPr>
                <a:latin typeface="Calibri" panose="020F0502020204030204" charset="0"/>
                <a:ea typeface="微软雅黑" panose="020B0503020204020204" pitchFamily="34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微软雅黑" panose="020B0503020204020204" pitchFamily="34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微软雅黑" panose="020B0503020204020204" pitchFamily="34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微软雅黑" panose="020B0503020204020204" pitchFamily="34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微软雅黑" panose="020B0503020204020204" pitchFamily="34" charset="-122"/>
              </a:defRPr>
            </a:lvl9pPr>
          </a:lstStyle>
          <a:p>
            <a:r>
              <a:rPr lang="zh-CN" altLang="en-US" sz="2200" dirty="0">
                <a:solidFill>
                  <a:srgbClr val="000000"/>
                </a:solidFill>
                <a:ea typeface="黑体" panose="02010609060101010101" pitchFamily="49" charset="-122"/>
              </a:rPr>
              <a:t>遇到的</a:t>
            </a:r>
            <a:r>
              <a:rPr lang="zh-CN" altLang="en-US" sz="2200" dirty="0">
                <a:solidFill>
                  <a:srgbClr val="000000"/>
                </a:solidFill>
                <a:ea typeface="黑体" panose="02010609060101010101" pitchFamily="49" charset="-122"/>
              </a:rPr>
              <a:t>问题</a:t>
            </a:r>
            <a:endParaRPr lang="zh-CN" altLang="en-US" sz="2200" dirty="0">
              <a:solidFill>
                <a:srgbClr val="000000"/>
              </a:solidFill>
              <a:ea typeface="黑体" panose="02010609060101010101" pitchFamily="49" charset="-122"/>
            </a:endParaRPr>
          </a:p>
        </p:txBody>
      </p:sp>
      <p:sp>
        <p:nvSpPr>
          <p:cNvPr id="19" name="文本框 18"/>
          <p:cNvSpPr txBox="1"/>
          <p:nvPr>
            <p:custDataLst>
              <p:tags r:id="rId8"/>
            </p:custDataLst>
          </p:nvPr>
        </p:nvSpPr>
        <p:spPr>
          <a:xfrm>
            <a:off x="7922047" y="4484116"/>
            <a:ext cx="3530926" cy="854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 anchorCtr="0">
            <a:normAutofit/>
          </a:bodyPr>
          <a:lstStyle>
            <a:defPPr>
              <a:defRPr lang="zh-CN"/>
            </a:defPPr>
            <a:lvl1pPr marR="0" lvl="0" indent="0" defTabSz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4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微软雅黑" panose="020B0503020204020204" pitchFamily="34" charset="-122"/>
              </a:defRPr>
            </a:lvl1pPr>
            <a:lvl2pPr marL="742950" indent="-285750">
              <a:defRPr>
                <a:latin typeface="Calibri" panose="020F0502020204030204" charset="0"/>
                <a:ea typeface="微软雅黑" panose="020B0503020204020204" pitchFamily="34" charset="-122"/>
              </a:defRPr>
            </a:lvl2pPr>
            <a:lvl3pPr marL="1143000" indent="-228600">
              <a:defRPr>
                <a:latin typeface="Calibri" panose="020F0502020204030204" charset="0"/>
                <a:ea typeface="微软雅黑" panose="020B0503020204020204" pitchFamily="34" charset="-122"/>
              </a:defRPr>
            </a:lvl3pPr>
            <a:lvl4pPr marL="1600200" indent="-228600">
              <a:defRPr>
                <a:latin typeface="Calibri" panose="020F0502020204030204" charset="0"/>
                <a:ea typeface="微软雅黑" panose="020B0503020204020204" pitchFamily="34" charset="-122"/>
              </a:defRPr>
            </a:lvl4pPr>
            <a:lvl5pPr marL="2057400" indent="-228600">
              <a:defRPr>
                <a:latin typeface="Calibri" panose="020F0502020204030204" charset="0"/>
                <a:ea typeface="微软雅黑" panose="020B0503020204020204" pitchFamily="34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微软雅黑" panose="020B0503020204020204" pitchFamily="34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微软雅黑" panose="020B0503020204020204" pitchFamily="34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微软雅黑" panose="020B0503020204020204" pitchFamily="34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charset="0"/>
                <a:ea typeface="微软雅黑" panose="020B0503020204020204" pitchFamily="34" charset="-122"/>
              </a:defRPr>
            </a:lvl9pPr>
          </a:lstStyle>
          <a:p>
            <a:r>
              <a:rPr lang="zh-CN" altLang="en-US" sz="2200" dirty="0">
                <a:solidFill>
                  <a:srgbClr val="4A4A66"/>
                </a:solidFill>
                <a:ea typeface="黑体" panose="02010609060101010101" pitchFamily="49" charset="-122"/>
              </a:rPr>
              <a:t>感想</a:t>
            </a:r>
            <a:endParaRPr lang="zh-CN" altLang="en-US" sz="2200" dirty="0">
              <a:solidFill>
                <a:srgbClr val="4A4A66"/>
              </a:solidFill>
              <a:ea typeface="黑体" panose="02010609060101010101" pitchFamily="49" charset="-122"/>
            </a:endParaRPr>
          </a:p>
        </p:txBody>
      </p:sp>
      <p:sp>
        <p:nvSpPr>
          <p:cNvPr id="11" name="斜纹 10"/>
          <p:cNvSpPr/>
          <p:nvPr>
            <p:custDataLst>
              <p:tags r:id="rId9"/>
            </p:custDataLst>
          </p:nvPr>
        </p:nvSpPr>
        <p:spPr>
          <a:xfrm>
            <a:off x="0" y="0"/>
            <a:ext cx="3965830" cy="3194080"/>
          </a:xfrm>
          <a:prstGeom prst="diagStripe">
            <a:avLst>
              <a:gd name="adj" fmla="val 62416"/>
            </a:avLst>
          </a:prstGeom>
          <a:solidFill>
            <a:srgbClr val="32B7CF"/>
          </a:solidFill>
          <a:ln>
            <a:noFill/>
          </a:ln>
        </p:spPr>
        <p:style>
          <a:lnRef idx="2">
            <a:srgbClr val="F3EDD3">
              <a:shade val="50000"/>
            </a:srgbClr>
          </a:lnRef>
          <a:fillRef idx="1">
            <a:srgbClr val="F3EDD3"/>
          </a:fillRef>
          <a:effectRef idx="0">
            <a:srgbClr val="F3EDD3"/>
          </a:effectRef>
          <a:fontRef idx="minor">
            <a:srgbClr val="FFFFFF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14" name="斜纹 13"/>
          <p:cNvSpPr/>
          <p:nvPr>
            <p:custDataLst>
              <p:tags r:id="rId10"/>
            </p:custDataLst>
          </p:nvPr>
        </p:nvSpPr>
        <p:spPr>
          <a:xfrm>
            <a:off x="0" y="683019"/>
            <a:ext cx="1397000" cy="1125144"/>
          </a:xfrm>
          <a:prstGeom prst="diagStripe">
            <a:avLst>
              <a:gd name="adj" fmla="val 62416"/>
            </a:avLst>
          </a:prstGeom>
          <a:solidFill>
            <a:srgbClr val="F9C554"/>
          </a:solidFill>
          <a:ln>
            <a:noFill/>
          </a:ln>
        </p:spPr>
        <p:style>
          <a:lnRef idx="2">
            <a:srgbClr val="F3EDD3">
              <a:shade val="50000"/>
            </a:srgbClr>
          </a:lnRef>
          <a:fillRef idx="1">
            <a:srgbClr val="F3EDD3"/>
          </a:fillRef>
          <a:effectRef idx="0">
            <a:srgbClr val="F3EDD3"/>
          </a:effectRef>
          <a:fontRef idx="minor">
            <a:srgbClr val="FFFFFF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15" name="斜纹 14"/>
          <p:cNvSpPr/>
          <p:nvPr>
            <p:custDataLst>
              <p:tags r:id="rId11"/>
            </p:custDataLst>
          </p:nvPr>
        </p:nvSpPr>
        <p:spPr>
          <a:xfrm>
            <a:off x="2378167" y="0"/>
            <a:ext cx="1954085" cy="1573820"/>
          </a:xfrm>
          <a:prstGeom prst="diagStripe">
            <a:avLst>
              <a:gd name="adj" fmla="val 93772"/>
            </a:avLst>
          </a:prstGeom>
          <a:solidFill>
            <a:srgbClr val="F3EDD3"/>
          </a:solidFill>
          <a:ln>
            <a:noFill/>
          </a:ln>
        </p:spPr>
        <p:style>
          <a:lnRef idx="2">
            <a:srgbClr val="F3EDD3">
              <a:shade val="50000"/>
            </a:srgbClr>
          </a:lnRef>
          <a:fillRef idx="1">
            <a:srgbClr val="F3EDD3"/>
          </a:fillRef>
          <a:effectRef idx="0">
            <a:srgbClr val="F3EDD3"/>
          </a:effectRef>
          <a:fontRef idx="minor">
            <a:srgbClr val="FFFFFF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16" name="文本框 15"/>
          <p:cNvSpPr txBox="1"/>
          <p:nvPr>
            <p:custDataLst>
              <p:tags r:id="rId12"/>
            </p:custDataLst>
          </p:nvPr>
        </p:nvSpPr>
        <p:spPr>
          <a:xfrm rot="19269594">
            <a:off x="348206" y="1041652"/>
            <a:ext cx="2038350" cy="904479"/>
          </a:xfrm>
          <a:prstGeom prst="rect">
            <a:avLst/>
          </a:prstGeom>
          <a:noFill/>
        </p:spPr>
        <p:txBody>
          <a:bodyPr wrap="square" rtlCol="0" anchor="ctr" anchorCtr="0">
            <a:normAutofit/>
          </a:bodyPr>
          <a:lstStyle/>
          <a:p>
            <a:pPr algn="dist"/>
            <a:r>
              <a:rPr lang="zh-CN" altLang="en-US" sz="3600" b="1" smtClean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cs typeface="+mn-ea"/>
              </a:rPr>
              <a:t>目录</a:t>
            </a:r>
            <a:endParaRPr lang="zh-CN" altLang="en-US" sz="3600" b="1" smtClean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  <a:cs typeface="+mn-ea"/>
            </a:endParaRPr>
          </a:p>
        </p:txBody>
      </p:sp>
    </p:spTree>
    <p:custDataLst>
      <p:tags r:id="rId13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/>
    </mc:Choice>
    <mc:Fallback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2"/>
        </a:solidFill>
        <a:effectLst/>
      </p:bgPr>
    </p:bg>
    <p:spTree>
      <p:nvGrpSpPr>
        <p:cNvPr id="1" name=""/>
        <p:cNvGrpSpPr/>
        <p:nvPr/>
      </p:nvGrpSpPr>
      <p:grpSpPr/>
      <p:pic>
        <p:nvPicPr>
          <p:cNvPr id="8" name="图片 7" descr="图形用户界面, 文本, 应用程序&#10;&#10;描述已自动生成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-37" y="0"/>
            <a:ext cx="12192075" cy="685800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 idx="4294967295"/>
          </p:nvPr>
        </p:nvSpPr>
        <p:spPr>
          <a:xfrm>
            <a:off x="669924" y="1"/>
            <a:ext cx="10850563" cy="1028699"/>
          </a:xfr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buClrTx/>
              <a:buSzTx/>
              <a:buFontTx/>
            </a:pPr>
            <a:r>
              <a:rPr lang="zh-CN" altLang="en-US">
                <a:solidFill>
                  <a:schemeClr val="accent1"/>
                </a:solidFill>
                <a:latin typeface="汉仪粗黑 简" charset="0"/>
                <a:ea typeface="汉仪粗黑 简" charset="0"/>
                <a:sym typeface="+mn-ea"/>
              </a:rPr>
              <a:t>任务</a:t>
            </a:r>
            <a:r>
              <a:rPr lang="zh-CN" altLang="en-US">
                <a:solidFill>
                  <a:schemeClr val="accent1"/>
                </a:solidFill>
                <a:latin typeface="汉仪粗黑 简" charset="0"/>
                <a:ea typeface="汉仪粗黑 简" charset="0"/>
                <a:sym typeface="+mn-ea"/>
              </a:rPr>
              <a:t>清单</a:t>
            </a:r>
            <a:endParaRPr lang="zh-CN" altLang="en-US">
              <a:solidFill>
                <a:schemeClr val="accent1"/>
              </a:solidFill>
              <a:latin typeface="汉仪粗黑 简" charset="0"/>
              <a:ea typeface="汉仪粗黑 简" charset="0"/>
              <a:sym typeface="+mn-ea"/>
            </a:endParaRPr>
          </a:p>
        </p:txBody>
      </p:sp>
      <p:sp>
        <p:nvSpPr>
          <p:cNvPr id="5" name="内容占位符 2"/>
          <p:cNvSpPr txBox="1"/>
          <p:nvPr>
            <p:custDataLst>
              <p:tags r:id="rId3"/>
            </p:custDataLst>
          </p:nvPr>
        </p:nvSpPr>
        <p:spPr>
          <a:xfrm>
            <a:off x="334645" y="1377950"/>
            <a:ext cx="8275955" cy="451421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zh-CN" altLang="en-US" sz="1645" dirty="0">
                <a:solidFill>
                  <a:schemeClr val="dk1"/>
                </a:solidFill>
                <a:latin typeface="汉仪粗简黑简" charset="0"/>
                <a:ea typeface="汉仪粗简黑简" charset="0"/>
              </a:rPr>
              <a:t>委托，合同，样品，测试方案，测试报告的单元测试。</a:t>
            </a:r>
            <a:endParaRPr lang="zh-CN" altLang="en-US" sz="1645" dirty="0">
              <a:solidFill>
                <a:schemeClr val="dk1"/>
              </a:solidFill>
              <a:latin typeface="汉仪粗简黑简" charset="0"/>
              <a:ea typeface="汉仪粗简黑简" charset="0"/>
            </a:endParaRPr>
          </a:p>
          <a:p>
            <a:pPr lvl="1"/>
            <a:endParaRPr lang="zh-CN" altLang="en-US" sz="1645" dirty="0">
              <a:solidFill>
                <a:schemeClr val="dk1"/>
              </a:solidFill>
              <a:latin typeface="汉仪粗简黑简" charset="0"/>
              <a:ea typeface="汉仪粗简黑简" charset="0"/>
            </a:endParaRPr>
          </a:p>
          <a:p>
            <a:pPr lvl="1"/>
            <a:endParaRPr lang="zh-CN" altLang="en-US" sz="1645" dirty="0">
              <a:solidFill>
                <a:schemeClr val="dk1"/>
              </a:solidFill>
              <a:latin typeface="汉仪粗简黑简" charset="0"/>
              <a:ea typeface="汉仪粗简黑简" charset="0"/>
            </a:endParaRPr>
          </a:p>
          <a:p>
            <a:pPr lvl="1"/>
            <a:r>
              <a:rPr lang="zh-CN" altLang="en-US" sz="1645" dirty="0">
                <a:solidFill>
                  <a:schemeClr val="dk1"/>
                </a:solidFill>
                <a:latin typeface="汉仪粗简黑简" charset="0"/>
                <a:ea typeface="汉仪粗简黑简" charset="0"/>
              </a:rPr>
              <a:t>按照流程进行集成测试。委托，合同等相关接口的性能测试。</a:t>
            </a:r>
            <a:endParaRPr lang="zh-CN" altLang="en-US" sz="1645" dirty="0">
              <a:solidFill>
                <a:schemeClr val="dk1"/>
              </a:solidFill>
              <a:latin typeface="汉仪粗简黑简" charset="0"/>
              <a:ea typeface="汉仪粗简黑简" charset="0"/>
            </a:endParaRPr>
          </a:p>
          <a:p>
            <a:pPr lvl="1"/>
            <a:endParaRPr lang="zh-CN" altLang="en-US" sz="1645" dirty="0">
              <a:solidFill>
                <a:schemeClr val="dk1"/>
              </a:solidFill>
              <a:latin typeface="汉仪粗简黑简" charset="0"/>
              <a:ea typeface="汉仪粗简黑简" charset="0"/>
            </a:endParaRPr>
          </a:p>
          <a:p>
            <a:pPr lvl="1"/>
            <a:endParaRPr lang="zh-CN" altLang="en-US" sz="1645" dirty="0">
              <a:solidFill>
                <a:schemeClr val="dk1"/>
              </a:solidFill>
              <a:latin typeface="汉仪粗简黑简" charset="0"/>
              <a:ea typeface="汉仪粗简黑简" charset="0"/>
            </a:endParaRPr>
          </a:p>
          <a:p>
            <a:pPr lvl="1"/>
            <a:r>
              <a:rPr lang="zh-CN" altLang="en-US" sz="1645" dirty="0">
                <a:solidFill>
                  <a:schemeClr val="dk1"/>
                </a:solidFill>
                <a:latin typeface="汉仪粗简黑简" charset="0"/>
                <a:ea typeface="汉仪粗简黑简" charset="0"/>
              </a:rPr>
              <a:t>测试报告，项目汇报的</a:t>
            </a:r>
            <a:r>
              <a:rPr lang="zh-CN" altLang="en-US" sz="1645" dirty="0">
                <a:solidFill>
                  <a:schemeClr val="dk1"/>
                </a:solidFill>
                <a:latin typeface="汉仪粗简黑简" charset="0"/>
                <a:ea typeface="汉仪粗简黑简" charset="0"/>
              </a:rPr>
              <a:t>编写。</a:t>
            </a:r>
            <a:endParaRPr lang="zh-CN" altLang="en-US" sz="1645" dirty="0">
              <a:solidFill>
                <a:schemeClr val="dk1"/>
              </a:solidFill>
              <a:latin typeface="汉仪粗简黑简" charset="0"/>
              <a:ea typeface="汉仪粗简黑简" charset="0"/>
            </a:endParaRPr>
          </a:p>
        </p:txBody>
      </p:sp>
    </p:spTree>
    <p:custDataLst>
      <p:tags r:id="rId4"/>
    </p:custData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2"/>
        </a:solidFill>
        <a:effectLst/>
      </p:bgPr>
    </p:bg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图形用户界面, 文本, 应用程序&#10;&#10;描述已自动生成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-37" y="0"/>
            <a:ext cx="12192075" cy="6858000"/>
          </a:xfrm>
          <a:prstGeom prst="rect">
            <a:avLst/>
          </a:prstGeom>
        </p:spPr>
      </p:pic>
      <p:sp>
        <p:nvSpPr>
          <p:cNvPr id="2" name="ïṣ1îḑe"/>
          <p:cNvSpPr>
            <a:spLocks noGrp="1"/>
          </p:cNvSpPr>
          <p:nvPr>
            <p:ph type="title" idx="4294967295"/>
          </p:nvPr>
        </p:nvSpPr>
        <p:spPr>
          <a:xfrm>
            <a:off x="669924" y="1"/>
            <a:ext cx="10850563" cy="1028699"/>
          </a:xfr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buClrTx/>
              <a:buSzTx/>
              <a:buFontTx/>
            </a:pPr>
            <a:r>
              <a:rPr lang="zh-CN" altLang="en-US">
                <a:solidFill>
                  <a:schemeClr val="accent1"/>
                </a:solidFill>
                <a:latin typeface="汉仪粗黑 简" charset="0"/>
                <a:ea typeface="汉仪粗黑 简" charset="0"/>
                <a:sym typeface="+mn-ea"/>
              </a:rPr>
              <a:t>代码文件</a:t>
            </a:r>
            <a:endParaRPr lang="zh-CN" altLang="en-US">
              <a:solidFill>
                <a:schemeClr val="accent1"/>
              </a:solidFill>
              <a:latin typeface="汉仪粗黑 简" charset="0"/>
              <a:ea typeface="汉仪粗黑 简" charset="0"/>
              <a:sym typeface="+mn-ea"/>
            </a:endParaRPr>
          </a:p>
        </p:txBody>
      </p:sp>
      <p:sp>
        <p:nvSpPr>
          <p:cNvPr id="5" name="内容占位符 2"/>
          <p:cNvSpPr txBox="1"/>
          <p:nvPr>
            <p:custDataLst>
              <p:tags r:id="rId3"/>
            </p:custDataLst>
          </p:nvPr>
        </p:nvSpPr>
        <p:spPr>
          <a:xfrm>
            <a:off x="465454" y="1362132"/>
            <a:ext cx="4533900" cy="451441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 dirty="0">
                <a:solidFill>
                  <a:schemeClr val="dk1"/>
                </a:solidFill>
                <a:latin typeface="汉仪粗简黑简" charset="0"/>
                <a:cs typeface="汉仪粗简黑简" charset="0"/>
              </a:rPr>
              <a:t>后端测试文件共计</a:t>
            </a:r>
            <a:r>
              <a:rPr lang="en-US" altLang="zh-CN" sz="2400" dirty="0">
                <a:solidFill>
                  <a:schemeClr val="dk1"/>
                </a:solidFill>
                <a:latin typeface="汉仪粗简黑简" charset="0"/>
                <a:cs typeface="汉仪粗简黑简" charset="0"/>
              </a:rPr>
              <a:t>2457</a:t>
            </a:r>
            <a:r>
              <a:rPr lang="zh-CN" altLang="en-US" sz="2400" dirty="0">
                <a:solidFill>
                  <a:schemeClr val="dk1"/>
                </a:solidFill>
                <a:latin typeface="汉仪粗简黑简" charset="0"/>
                <a:cs typeface="汉仪粗简黑简" charset="0"/>
              </a:rPr>
              <a:t>行代码</a:t>
            </a:r>
            <a:endParaRPr lang="zh-CN" altLang="en-US" sz="2400" dirty="0">
              <a:solidFill>
                <a:schemeClr val="dk1"/>
              </a:solidFill>
              <a:latin typeface="汉仪粗简黑简" charset="0"/>
              <a:cs typeface="汉仪粗简黑简" charset="0"/>
            </a:endParaRPr>
          </a:p>
          <a:p>
            <a:endParaRPr lang="zh-CN" altLang="en-US" sz="2400" dirty="0">
              <a:solidFill>
                <a:schemeClr val="dk1"/>
              </a:solidFill>
              <a:latin typeface="汉仪粗简黑简" charset="0"/>
              <a:cs typeface="汉仪粗简黑简" charset="0"/>
            </a:endParaRPr>
          </a:p>
          <a:p>
            <a:r>
              <a:rPr lang="zh-CN" altLang="en-US" sz="2400" dirty="0">
                <a:solidFill>
                  <a:schemeClr val="dk1"/>
                </a:solidFill>
                <a:latin typeface="汉仪粗简黑简" charset="0"/>
                <a:cs typeface="汉仪粗简黑简" charset="0"/>
              </a:rPr>
              <a:t>继承框架中</a:t>
            </a:r>
            <a:r>
              <a:rPr lang="zh-CN" altLang="en-US" sz="2400" dirty="0">
                <a:solidFill>
                  <a:schemeClr val="dk1"/>
                </a:solidFill>
                <a:latin typeface="汉仪粗简黑简" charset="0"/>
                <a:cs typeface="汉仪粗简黑简" charset="0"/>
              </a:rPr>
              <a:t>的BaseDbUnitTest.java </a:t>
            </a:r>
            <a:endParaRPr lang="zh-CN" altLang="en-US" sz="2400" dirty="0">
              <a:solidFill>
                <a:schemeClr val="dk1"/>
              </a:solidFill>
              <a:latin typeface="汉仪粗简黑简" charset="0"/>
              <a:cs typeface="汉仪粗简黑简" charset="0"/>
            </a:endParaRPr>
          </a:p>
          <a:p>
            <a:pPr lvl="1"/>
            <a:r>
              <a:rPr lang="en-US" altLang="zh-CN" sz="2130" dirty="0">
                <a:solidFill>
                  <a:schemeClr val="dk1"/>
                </a:solidFill>
                <a:latin typeface="汉仪粗简黑简" charset="0"/>
                <a:cs typeface="汉仪粗简黑简" charset="0"/>
              </a:rPr>
              <a:t>DelegationServiceImplTest</a:t>
            </a:r>
            <a:endParaRPr lang="en-US" altLang="zh-CN" sz="2130" dirty="0">
              <a:solidFill>
                <a:schemeClr val="dk1"/>
              </a:solidFill>
              <a:latin typeface="汉仪粗简黑简" charset="0"/>
              <a:cs typeface="汉仪粗简黑简" charset="0"/>
            </a:endParaRPr>
          </a:p>
          <a:p>
            <a:pPr lvl="1"/>
            <a:r>
              <a:rPr lang="en-US" altLang="zh-CN" sz="2130" dirty="0">
                <a:solidFill>
                  <a:schemeClr val="dk1"/>
                </a:solidFill>
                <a:latin typeface="汉仪粗简黑简" charset="0"/>
                <a:cs typeface="汉仪粗简黑简" charset="0"/>
              </a:rPr>
              <a:t>ContractServicelmplTest</a:t>
            </a:r>
            <a:endParaRPr lang="en-US" altLang="zh-CN" sz="2130" dirty="0">
              <a:solidFill>
                <a:schemeClr val="dk1"/>
              </a:solidFill>
              <a:latin typeface="汉仪粗简黑简" charset="0"/>
              <a:cs typeface="汉仪粗简黑简" charset="0"/>
            </a:endParaRPr>
          </a:p>
          <a:p>
            <a:pPr lvl="1"/>
            <a:r>
              <a:rPr lang="en-US" altLang="zh-CN" sz="2130" dirty="0">
                <a:solidFill>
                  <a:schemeClr val="dk1"/>
                </a:solidFill>
                <a:latin typeface="汉仪粗简黑简" charset="0"/>
                <a:cs typeface="汉仪粗简黑简" charset="0"/>
              </a:rPr>
              <a:t>SampleServiceImplTest</a:t>
            </a:r>
            <a:endParaRPr lang="en-US" altLang="zh-CN" sz="2130" dirty="0">
              <a:solidFill>
                <a:schemeClr val="dk1"/>
              </a:solidFill>
              <a:latin typeface="汉仪粗简黑简" charset="0"/>
              <a:cs typeface="汉仪粗简黑简" charset="0"/>
            </a:endParaRPr>
          </a:p>
          <a:p>
            <a:pPr lvl="1"/>
            <a:r>
              <a:rPr lang="en-US" altLang="zh-CN" sz="2130" dirty="0">
                <a:solidFill>
                  <a:schemeClr val="dk1"/>
                </a:solidFill>
                <a:latin typeface="汉仪粗简黑简" charset="0"/>
                <a:cs typeface="汉仪粗简黑简" charset="0"/>
              </a:rPr>
              <a:t>SolutionServiceImplTest</a:t>
            </a:r>
            <a:endParaRPr lang="en-US" altLang="zh-CN" sz="2130" dirty="0">
              <a:solidFill>
                <a:schemeClr val="dk1"/>
              </a:solidFill>
              <a:latin typeface="汉仪粗简黑简" charset="0"/>
              <a:cs typeface="汉仪粗简黑简" charset="0"/>
            </a:endParaRPr>
          </a:p>
          <a:p>
            <a:pPr lvl="1"/>
            <a:r>
              <a:rPr lang="en-US" altLang="zh-CN" sz="2130" dirty="0">
                <a:solidFill>
                  <a:schemeClr val="dk1"/>
                </a:solidFill>
                <a:latin typeface="汉仪粗简黑简" charset="0"/>
                <a:cs typeface="汉仪粗简黑简" charset="0"/>
              </a:rPr>
              <a:t>ReportServiceImplTest</a:t>
            </a:r>
            <a:endParaRPr lang="zh-CN" altLang="en-US" sz="2130" dirty="0">
              <a:solidFill>
                <a:schemeClr val="dk1"/>
              </a:solidFill>
              <a:latin typeface="汉仪粗简黑简" charset="0"/>
              <a:cs typeface="汉仪粗简黑简" charset="0"/>
            </a:endParaRPr>
          </a:p>
          <a:p>
            <a:pPr lvl="1"/>
            <a:endParaRPr lang="zh-CN" altLang="en-US" sz="2130" dirty="0">
              <a:solidFill>
                <a:schemeClr val="dk1"/>
              </a:solidFill>
              <a:latin typeface="汉仪粗简黑简" charset="0"/>
              <a:cs typeface="汉仪粗简黑简" charset="0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80610" y="1737360"/>
            <a:ext cx="5905500" cy="3977640"/>
          </a:xfrm>
          <a:prstGeom prst="rect">
            <a:avLst/>
          </a:prstGeom>
        </p:spPr>
      </p:pic>
    </p:spTree>
    <p:custDataLst>
      <p:tags r:id="rId5"/>
    </p:custData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2"/>
        </a:solidFill>
        <a:effectLst/>
      </p:bgPr>
    </p:bg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图形用户界面, 文本, 应用程序&#10;&#10;描述已自动生成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-37" y="0"/>
            <a:ext cx="12192075" cy="6858000"/>
          </a:xfrm>
          <a:prstGeom prst="rect">
            <a:avLst/>
          </a:prstGeom>
        </p:spPr>
      </p:pic>
      <p:sp>
        <p:nvSpPr>
          <p:cNvPr id="2" name="ïṣ1îḑe"/>
          <p:cNvSpPr>
            <a:spLocks noGrp="1"/>
          </p:cNvSpPr>
          <p:nvPr>
            <p:ph type="title" idx="4294967295"/>
          </p:nvPr>
        </p:nvSpPr>
        <p:spPr>
          <a:xfrm>
            <a:off x="669924" y="1"/>
            <a:ext cx="10850563" cy="1028699"/>
          </a:xfr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buClrTx/>
              <a:buSzTx/>
              <a:buFontTx/>
            </a:pPr>
            <a:r>
              <a:rPr lang="zh-CN" altLang="en-US">
                <a:solidFill>
                  <a:schemeClr val="accent1"/>
                </a:solidFill>
                <a:latin typeface="汉仪粗黑 简" charset="0"/>
                <a:ea typeface="汉仪粗黑 简" charset="0"/>
                <a:sym typeface="+mn-ea"/>
              </a:rPr>
              <a:t>相关</a:t>
            </a:r>
            <a:r>
              <a:rPr lang="zh-CN" altLang="en-US">
                <a:solidFill>
                  <a:schemeClr val="accent1"/>
                </a:solidFill>
                <a:latin typeface="汉仪粗黑 简" charset="0"/>
                <a:ea typeface="汉仪粗黑 简" charset="0"/>
                <a:sym typeface="+mn-ea"/>
              </a:rPr>
              <a:t>测试</a:t>
            </a:r>
            <a:endParaRPr lang="zh-CN" altLang="en-US">
              <a:solidFill>
                <a:schemeClr val="accent1"/>
              </a:solidFill>
              <a:latin typeface="汉仪粗黑 简" charset="0"/>
              <a:ea typeface="汉仪粗黑 简" charset="0"/>
              <a:sym typeface="+mn-ea"/>
            </a:endParaRPr>
          </a:p>
        </p:txBody>
      </p:sp>
      <p:sp>
        <p:nvSpPr>
          <p:cNvPr id="5" name="内容占位符 2"/>
          <p:cNvSpPr txBox="1"/>
          <p:nvPr>
            <p:custDataLst>
              <p:tags r:id="rId3"/>
            </p:custDataLst>
          </p:nvPr>
        </p:nvSpPr>
        <p:spPr>
          <a:xfrm>
            <a:off x="465455" y="1362075"/>
            <a:ext cx="5151120" cy="451421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zh-CN" altLang="en-US" sz="2130" dirty="0">
              <a:solidFill>
                <a:schemeClr val="dk1"/>
              </a:solidFill>
              <a:latin typeface="汉仪粗简黑简" charset="0"/>
              <a:cs typeface="汉仪粗简黑简" charset="0"/>
            </a:endParaRPr>
          </a:p>
          <a:p>
            <a:pPr lvl="1"/>
            <a:endParaRPr lang="zh-CN" altLang="en-US" sz="2130" dirty="0">
              <a:solidFill>
                <a:schemeClr val="dk1"/>
              </a:solidFill>
              <a:latin typeface="汉仪粗简黑简" charset="0"/>
              <a:cs typeface="汉仪粗简黑简" charset="0"/>
            </a:endParaRPr>
          </a:p>
          <a:p>
            <a:pPr lvl="1"/>
            <a:r>
              <a:rPr lang="zh-CN" altLang="en-US" sz="2130" dirty="0">
                <a:solidFill>
                  <a:schemeClr val="dk1"/>
                </a:solidFill>
                <a:latin typeface="汉仪粗简黑简" charset="0"/>
                <a:cs typeface="汉仪粗简黑简" charset="0"/>
              </a:rPr>
              <a:t>使用Apifox的自动化测试,创建各个阶段测试用例并发出请求。</a:t>
            </a:r>
            <a:endParaRPr lang="zh-CN" altLang="en-US" sz="2130" dirty="0">
              <a:solidFill>
                <a:schemeClr val="dk1"/>
              </a:solidFill>
              <a:latin typeface="汉仪粗简黑简" charset="0"/>
              <a:cs typeface="汉仪粗简黑简" charset="0"/>
            </a:endParaRPr>
          </a:p>
          <a:p>
            <a:pPr lvl="1"/>
            <a:endParaRPr lang="zh-CN" altLang="en-US" sz="2130" dirty="0">
              <a:solidFill>
                <a:schemeClr val="dk1"/>
              </a:solidFill>
              <a:latin typeface="汉仪粗简黑简" charset="0"/>
              <a:cs typeface="汉仪粗简黑简" charset="0"/>
            </a:endParaRPr>
          </a:p>
          <a:p>
            <a:pPr lvl="1"/>
            <a:endParaRPr lang="zh-CN" altLang="en-US" sz="2130" dirty="0">
              <a:solidFill>
                <a:schemeClr val="dk1"/>
              </a:solidFill>
              <a:latin typeface="汉仪粗简黑简" charset="0"/>
              <a:cs typeface="汉仪粗简黑简" charset="0"/>
            </a:endParaRPr>
          </a:p>
          <a:p>
            <a:pPr lvl="1"/>
            <a:endParaRPr lang="zh-CN" altLang="en-US" sz="2130" dirty="0">
              <a:solidFill>
                <a:schemeClr val="dk1"/>
              </a:solidFill>
              <a:latin typeface="汉仪粗简黑简" charset="0"/>
              <a:cs typeface="汉仪粗简黑简" charset="0"/>
            </a:endParaRPr>
          </a:p>
          <a:p>
            <a:pPr lvl="1"/>
            <a:r>
              <a:rPr lang="zh-CN" altLang="en-US" sz="2130" dirty="0">
                <a:solidFill>
                  <a:schemeClr val="dk1"/>
                </a:solidFill>
                <a:latin typeface="汉仪粗简黑简" charset="0"/>
                <a:cs typeface="汉仪粗简黑简" charset="0"/>
              </a:rPr>
              <a:t>通过JunitPerf在单元测试上约定同时开启</a:t>
            </a:r>
            <a:r>
              <a:rPr lang="en-US" altLang="zh-CN" sz="2130" dirty="0">
                <a:solidFill>
                  <a:schemeClr val="dk1"/>
                </a:solidFill>
                <a:latin typeface="汉仪粗简黑简" charset="0"/>
                <a:cs typeface="汉仪粗简黑简" charset="0"/>
              </a:rPr>
              <a:t>50</a:t>
            </a:r>
            <a:r>
              <a:rPr lang="zh-CN" altLang="en-US" sz="2130" dirty="0">
                <a:solidFill>
                  <a:schemeClr val="dk1"/>
                </a:solidFill>
                <a:latin typeface="汉仪粗简黑简" charset="0"/>
                <a:cs typeface="汉仪粗简黑简" charset="0"/>
              </a:rPr>
              <a:t>个线程开始测试,最大时延不得超过250ms,最低时延不得</a:t>
            </a:r>
            <a:r>
              <a:rPr lang="zh-CN" altLang="en-US" sz="2130" dirty="0">
                <a:solidFill>
                  <a:schemeClr val="dk1"/>
                </a:solidFill>
                <a:latin typeface="汉仪粗简黑简" charset="0"/>
                <a:cs typeface="汉仪粗简黑简" charset="0"/>
              </a:rPr>
              <a:t>高于210ms,每秒调用不得低于4次。</a:t>
            </a:r>
            <a:endParaRPr lang="zh-CN" altLang="en-US" sz="2130" dirty="0">
              <a:solidFill>
                <a:schemeClr val="dk1"/>
              </a:solidFill>
              <a:latin typeface="汉仪粗简黑简" charset="0"/>
              <a:cs typeface="汉仪粗简黑简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11850" y="883285"/>
            <a:ext cx="5608320" cy="275844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65645" y="3776345"/>
            <a:ext cx="3300730" cy="2731770"/>
          </a:xfrm>
          <a:prstGeom prst="rect">
            <a:avLst/>
          </a:prstGeom>
        </p:spPr>
      </p:pic>
    </p:spTree>
    <p:custDataLst>
      <p:tags r:id="rId6"/>
    </p:custData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2"/>
        </a:solidFill>
        <a:effectLst/>
      </p:bgPr>
    </p:bg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 descr="图形用户界面, 文本, 应用程序&#10;&#10;描述已自动生成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-37" y="0"/>
            <a:ext cx="12192075" cy="6858000"/>
          </a:xfrm>
          <a:prstGeom prst="rect">
            <a:avLst/>
          </a:prstGeom>
        </p:spPr>
      </p:pic>
      <p:sp>
        <p:nvSpPr>
          <p:cNvPr id="2" name="ïṣ1îḑe"/>
          <p:cNvSpPr>
            <a:spLocks noGrp="1"/>
          </p:cNvSpPr>
          <p:nvPr>
            <p:ph type="title" idx="4294967295"/>
          </p:nvPr>
        </p:nvSpPr>
        <p:spPr>
          <a:xfrm>
            <a:off x="669924" y="1"/>
            <a:ext cx="10850563" cy="1028699"/>
          </a:xfr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buClrTx/>
              <a:buSzTx/>
              <a:buFontTx/>
            </a:pPr>
            <a:r>
              <a:rPr lang="zh-CN" altLang="en-US">
                <a:solidFill>
                  <a:schemeClr val="accent1"/>
                </a:solidFill>
                <a:latin typeface="汉仪粗黑 简" charset="0"/>
                <a:ea typeface="汉仪粗黑 简" charset="0"/>
                <a:sym typeface="+mn-ea"/>
              </a:rPr>
              <a:t>完成的</a:t>
            </a:r>
            <a:r>
              <a:rPr lang="zh-CN" altLang="en-US">
                <a:solidFill>
                  <a:schemeClr val="accent1"/>
                </a:solidFill>
                <a:latin typeface="汉仪粗黑 简" charset="0"/>
                <a:ea typeface="汉仪粗黑 简" charset="0"/>
                <a:sym typeface="+mn-ea"/>
              </a:rPr>
              <a:t>文档</a:t>
            </a:r>
            <a:endParaRPr lang="zh-CN" altLang="en-US">
              <a:solidFill>
                <a:schemeClr val="accent1"/>
              </a:solidFill>
              <a:latin typeface="汉仪粗黑 简" charset="0"/>
              <a:ea typeface="汉仪粗黑 简" charset="0"/>
              <a:sym typeface="+mn-ea"/>
            </a:endParaRPr>
          </a:p>
        </p:txBody>
      </p:sp>
      <p:sp>
        <p:nvSpPr>
          <p:cNvPr id="5" name="内容占位符 2"/>
          <p:cNvSpPr txBox="1"/>
          <p:nvPr>
            <p:custDataLst>
              <p:tags r:id="rId3"/>
            </p:custDataLst>
          </p:nvPr>
        </p:nvSpPr>
        <p:spPr>
          <a:xfrm>
            <a:off x="473074" y="1377371"/>
            <a:ext cx="9221342" cy="486309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800" dirty="0">
                <a:solidFill>
                  <a:schemeClr val="dk1"/>
                </a:solidFill>
                <a:latin typeface="汉仪粗简黑简" charset="0"/>
                <a:ea typeface="汉仪粗简黑简" charset="0"/>
              </a:rPr>
              <a:t>测试报告</a:t>
            </a:r>
            <a:endParaRPr lang="zh-CN" altLang="en-US" sz="1800" dirty="0">
              <a:solidFill>
                <a:schemeClr val="dk1"/>
              </a:solidFill>
              <a:latin typeface="汉仪粗简黑简" charset="0"/>
              <a:ea typeface="汉仪粗简黑简" charset="0"/>
            </a:endParaRPr>
          </a:p>
          <a:p>
            <a:endParaRPr lang="zh-CN" altLang="en-US" sz="1800" dirty="0">
              <a:solidFill>
                <a:schemeClr val="dk1"/>
              </a:solidFill>
              <a:latin typeface="汉仪粗简黑简" charset="0"/>
              <a:ea typeface="汉仪粗简黑简" charset="0"/>
            </a:endParaRPr>
          </a:p>
          <a:p>
            <a:r>
              <a:rPr lang="zh-CN" altLang="en-US" sz="1800" dirty="0">
                <a:solidFill>
                  <a:schemeClr val="dk1"/>
                </a:solidFill>
                <a:latin typeface="汉仪粗简黑简" charset="0"/>
                <a:ea typeface="汉仪粗简黑简" charset="0"/>
              </a:rPr>
              <a:t>项目总汇报</a:t>
            </a:r>
            <a:endParaRPr lang="zh-CN" altLang="en-US" sz="1800" dirty="0">
              <a:solidFill>
                <a:schemeClr val="dk1"/>
              </a:solidFill>
              <a:latin typeface="汉仪粗简黑简" charset="0"/>
              <a:ea typeface="汉仪粗简黑简" charset="0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84450" y="1208405"/>
            <a:ext cx="8244840" cy="4183380"/>
          </a:xfrm>
          <a:prstGeom prst="rect">
            <a:avLst/>
          </a:prstGeom>
        </p:spPr>
      </p:pic>
    </p:spTree>
    <p:custDataLst>
      <p:tags r:id="rId5"/>
    </p:custData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2"/>
        </a:solidFill>
        <a:effectLst/>
      </p:bgPr>
    </p:bg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 descr="图形用户界面, 文本, 应用程序&#10;&#10;描述已自动生成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-37" y="0"/>
            <a:ext cx="12192075" cy="6858000"/>
          </a:xfrm>
          <a:prstGeom prst="rect">
            <a:avLst/>
          </a:prstGeom>
        </p:spPr>
      </p:pic>
      <p:sp>
        <p:nvSpPr>
          <p:cNvPr id="2" name="ïṣ1îḑe"/>
          <p:cNvSpPr>
            <a:spLocks noGrp="1"/>
          </p:cNvSpPr>
          <p:nvPr>
            <p:ph type="title" idx="4294967295"/>
          </p:nvPr>
        </p:nvSpPr>
        <p:spPr>
          <a:xfrm>
            <a:off x="669924" y="1"/>
            <a:ext cx="10850563" cy="1028699"/>
          </a:xfr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buClrTx/>
              <a:buSzTx/>
              <a:buFontTx/>
            </a:pPr>
            <a:r>
              <a:rPr lang="zh-CN" altLang="en-US">
                <a:solidFill>
                  <a:schemeClr val="accent1"/>
                </a:solidFill>
                <a:latin typeface="汉仪粗黑 简" charset="0"/>
                <a:ea typeface="汉仪粗黑 简" charset="0"/>
                <a:sym typeface="+mn-ea"/>
              </a:rPr>
              <a:t>遇到的</a:t>
            </a:r>
            <a:r>
              <a:rPr lang="zh-CN" altLang="en-US">
                <a:solidFill>
                  <a:schemeClr val="accent1"/>
                </a:solidFill>
                <a:latin typeface="汉仪粗黑 简" charset="0"/>
                <a:ea typeface="汉仪粗黑 简" charset="0"/>
                <a:sym typeface="+mn-ea"/>
              </a:rPr>
              <a:t>问题</a:t>
            </a:r>
            <a:endParaRPr lang="zh-CN" altLang="en-US">
              <a:solidFill>
                <a:schemeClr val="accent1"/>
              </a:solidFill>
              <a:latin typeface="汉仪粗黑 简" charset="0"/>
              <a:ea typeface="汉仪粗黑 简" charset="0"/>
              <a:sym typeface="+mn-ea"/>
            </a:endParaRPr>
          </a:p>
        </p:txBody>
      </p:sp>
      <p:sp>
        <p:nvSpPr>
          <p:cNvPr id="5" name="内容占位符 2"/>
          <p:cNvSpPr txBox="1"/>
          <p:nvPr>
            <p:custDataLst>
              <p:tags r:id="rId3"/>
            </p:custDataLst>
          </p:nvPr>
        </p:nvSpPr>
        <p:spPr>
          <a:xfrm>
            <a:off x="537209" y="1206556"/>
            <a:ext cx="9221342" cy="486309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800" dirty="0">
                <a:solidFill>
                  <a:schemeClr val="dk1"/>
                </a:solidFill>
                <a:latin typeface="汉仪粗简黑简" charset="0"/>
                <a:ea typeface="汉仪粗简黑简" charset="0"/>
              </a:rPr>
              <a:t>单元测试中不应该使用真实的数据库，因为单元测试中插入的数据并非真实的数据，刚开始没有使用内存数据库时导致</a:t>
            </a:r>
            <a:r>
              <a:rPr lang="en-US" altLang="zh-CN" sz="1800" dirty="0">
                <a:solidFill>
                  <a:schemeClr val="dk1"/>
                </a:solidFill>
                <a:latin typeface="汉仪粗简黑简" charset="0"/>
                <a:ea typeface="汉仪粗简黑简" charset="0"/>
              </a:rPr>
              <a:t>mysql</a:t>
            </a:r>
            <a:r>
              <a:rPr lang="zh-CN" altLang="en-US" sz="1800" dirty="0">
                <a:solidFill>
                  <a:schemeClr val="dk1"/>
                </a:solidFill>
                <a:latin typeface="汉仪粗简黑简" charset="0"/>
                <a:ea typeface="汉仪粗简黑简" charset="0"/>
              </a:rPr>
              <a:t>里数据</a:t>
            </a:r>
            <a:r>
              <a:rPr lang="zh-CN" altLang="en-US" sz="1800" dirty="0">
                <a:solidFill>
                  <a:schemeClr val="dk1"/>
                </a:solidFill>
                <a:latin typeface="汉仪粗简黑简" charset="0"/>
                <a:ea typeface="汉仪粗简黑简" charset="0"/>
              </a:rPr>
              <a:t>混乱。</a:t>
            </a:r>
            <a:endParaRPr lang="zh-CN" altLang="en-US" sz="1800" dirty="0">
              <a:solidFill>
                <a:schemeClr val="dk1"/>
              </a:solidFill>
              <a:latin typeface="汉仪粗简黑简" charset="0"/>
              <a:ea typeface="汉仪粗简黑简" charset="0"/>
            </a:endParaRPr>
          </a:p>
          <a:p>
            <a:endParaRPr lang="zh-CN" altLang="en-US" sz="1800" dirty="0">
              <a:solidFill>
                <a:schemeClr val="dk1"/>
              </a:solidFill>
              <a:latin typeface="汉仪粗简黑简" charset="0"/>
              <a:ea typeface="汉仪粗简黑简" charset="0"/>
            </a:endParaRPr>
          </a:p>
          <a:p>
            <a:r>
              <a:rPr lang="zh-CN" altLang="en-US" sz="1800" dirty="0">
                <a:solidFill>
                  <a:schemeClr val="dk1"/>
                </a:solidFill>
                <a:latin typeface="汉仪粗简黑简" charset="0"/>
                <a:ea typeface="汉仪粗简黑简" charset="0"/>
              </a:rPr>
              <a:t>使用Mockito时不清楚应该对什么样的依赖进行</a:t>
            </a:r>
            <a:r>
              <a:rPr lang="en-US" altLang="zh-CN" sz="1800" dirty="0">
                <a:solidFill>
                  <a:schemeClr val="dk1"/>
                </a:solidFill>
                <a:latin typeface="汉仪粗简黑简" charset="0"/>
                <a:ea typeface="汉仪粗简黑简" charset="0"/>
              </a:rPr>
              <a:t>mock,</a:t>
            </a:r>
            <a:r>
              <a:rPr lang="zh-CN" altLang="en-US" sz="1800" dirty="0">
                <a:solidFill>
                  <a:schemeClr val="dk1"/>
                </a:solidFill>
                <a:latin typeface="汉仪粗简黑简" charset="0"/>
                <a:ea typeface="汉仪粗简黑简" charset="0"/>
              </a:rPr>
              <a:t>事实上单元测试需要避免对外部的依赖</a:t>
            </a:r>
            <a:r>
              <a:rPr lang="en-US" altLang="zh-CN" sz="1800" dirty="0">
                <a:solidFill>
                  <a:schemeClr val="dk1"/>
                </a:solidFill>
                <a:latin typeface="汉仪粗简黑简" charset="0"/>
                <a:ea typeface="汉仪粗简黑简" charset="0"/>
              </a:rPr>
              <a:t>,</a:t>
            </a:r>
            <a:r>
              <a:rPr lang="zh-CN" altLang="en-US" sz="1800" dirty="0">
                <a:solidFill>
                  <a:schemeClr val="dk1"/>
                </a:solidFill>
                <a:latin typeface="汉仪粗简黑简" charset="0"/>
                <a:ea typeface="汉仪粗简黑简" charset="0"/>
              </a:rPr>
              <a:t>比如说对某个</a:t>
            </a:r>
            <a:r>
              <a:rPr lang="en-US" altLang="zh-CN" sz="1800" dirty="0">
                <a:solidFill>
                  <a:schemeClr val="dk1"/>
                </a:solidFill>
                <a:latin typeface="汉仪粗简黑简" charset="0"/>
                <a:ea typeface="汉仪粗简黑简" charset="0"/>
              </a:rPr>
              <a:t>service</a:t>
            </a:r>
            <a:r>
              <a:rPr lang="zh-CN" altLang="en-US" sz="1800" dirty="0">
                <a:solidFill>
                  <a:schemeClr val="dk1"/>
                </a:solidFill>
                <a:latin typeface="汉仪粗简黑简" charset="0"/>
                <a:ea typeface="汉仪粗简黑简" charset="0"/>
              </a:rPr>
              <a:t>的测试应该将其他</a:t>
            </a:r>
            <a:r>
              <a:rPr lang="en-US" altLang="zh-CN" sz="1800" dirty="0">
                <a:solidFill>
                  <a:schemeClr val="dk1"/>
                </a:solidFill>
                <a:latin typeface="汉仪粗简黑简" charset="0"/>
                <a:ea typeface="汉仪粗简黑简" charset="0"/>
              </a:rPr>
              <a:t>service</a:t>
            </a:r>
            <a:r>
              <a:rPr lang="zh-CN" altLang="en-US" sz="1800" dirty="0">
                <a:solidFill>
                  <a:schemeClr val="dk1"/>
                </a:solidFill>
                <a:latin typeface="汉仪粗简黑简" charset="0"/>
                <a:ea typeface="汉仪粗简黑简" charset="0"/>
              </a:rPr>
              <a:t>的依赖</a:t>
            </a:r>
            <a:r>
              <a:rPr lang="en-US" altLang="zh-CN" sz="1800" dirty="0">
                <a:solidFill>
                  <a:schemeClr val="dk1"/>
                </a:solidFill>
                <a:latin typeface="汉仪粗简黑简" charset="0"/>
                <a:ea typeface="汉仪粗简黑简" charset="0"/>
              </a:rPr>
              <a:t>mock</a:t>
            </a:r>
            <a:r>
              <a:rPr lang="zh-CN" altLang="en-US" sz="1800" dirty="0">
                <a:solidFill>
                  <a:schemeClr val="dk1"/>
                </a:solidFill>
                <a:latin typeface="汉仪粗简黑简" charset="0"/>
                <a:ea typeface="汉仪粗简黑简" charset="0"/>
              </a:rPr>
              <a:t>掉，但是相关的数据库</a:t>
            </a:r>
            <a:r>
              <a:rPr lang="en-US" altLang="zh-CN" sz="1800" dirty="0">
                <a:solidFill>
                  <a:schemeClr val="dk1"/>
                </a:solidFill>
                <a:latin typeface="汉仪粗简黑简" charset="0"/>
                <a:ea typeface="汉仪粗简黑简" charset="0"/>
              </a:rPr>
              <a:t>mapper</a:t>
            </a:r>
            <a:r>
              <a:rPr lang="zh-CN" altLang="en-US" sz="1800" dirty="0">
                <a:solidFill>
                  <a:schemeClr val="dk1"/>
                </a:solidFill>
                <a:latin typeface="汉仪粗简黑简" charset="0"/>
                <a:ea typeface="汉仪粗简黑简" charset="0"/>
              </a:rPr>
              <a:t>却应该真实引入，因为通过内嵌的H2内存数据库，进行“真实”的数据库操作，反而</a:t>
            </a:r>
            <a:r>
              <a:rPr lang="zh-CN" altLang="en-US" sz="1800" dirty="0">
                <a:solidFill>
                  <a:schemeClr val="dk1"/>
                </a:solidFill>
                <a:latin typeface="汉仪粗简黑简" charset="0"/>
                <a:ea typeface="汉仪粗简黑简" charset="0"/>
              </a:rPr>
              <a:t>使得单元测试的编写效率更高，效果更好。</a:t>
            </a:r>
            <a:endParaRPr lang="zh-CN" altLang="en-US" sz="1800" dirty="0">
              <a:solidFill>
                <a:schemeClr val="dk1"/>
              </a:solidFill>
              <a:latin typeface="汉仪粗简黑简" charset="0"/>
              <a:ea typeface="汉仪粗简黑简" charset="0"/>
            </a:endParaRPr>
          </a:p>
          <a:p>
            <a:endParaRPr lang="zh-CN" altLang="en-US" sz="1800" dirty="0">
              <a:solidFill>
                <a:schemeClr val="dk1"/>
              </a:solidFill>
              <a:latin typeface="汉仪粗简黑简" charset="0"/>
              <a:ea typeface="汉仪粗简黑简" charset="0"/>
            </a:endParaRPr>
          </a:p>
          <a:p>
            <a:r>
              <a:rPr lang="zh-CN" altLang="en-US" sz="1800" dirty="0">
                <a:solidFill>
                  <a:schemeClr val="dk1"/>
                </a:solidFill>
                <a:latin typeface="汉仪粗简黑简" charset="0"/>
                <a:ea typeface="汉仪粗简黑简" charset="0"/>
              </a:rPr>
              <a:t>使用</a:t>
            </a:r>
            <a:r>
              <a:rPr lang="zh-CN" altLang="en-US" dirty="0">
                <a:solidFill>
                  <a:schemeClr val="dk1"/>
                </a:solidFill>
                <a:latin typeface="汉仪粗简黑简" charset="0"/>
                <a:cs typeface="汉仪粗简黑简" charset="0"/>
                <a:sym typeface="+mn-ea"/>
              </a:rPr>
              <a:t>JunitPerf时发现每个测试调用了两次，自作聪明</a:t>
            </a:r>
            <a:r>
              <a:rPr lang="zh-CN" altLang="en-US" dirty="0">
                <a:solidFill>
                  <a:schemeClr val="dk1"/>
                </a:solidFill>
                <a:latin typeface="汉仪粗简黑简" charset="0"/>
                <a:cs typeface="汉仪粗简黑简" charset="0"/>
                <a:sym typeface="+mn-ea"/>
              </a:rPr>
              <a:t>地将测试前面的</a:t>
            </a:r>
            <a:r>
              <a:rPr lang="en-US" altLang="zh-CN" dirty="0">
                <a:solidFill>
                  <a:schemeClr val="dk1"/>
                </a:solidFill>
                <a:latin typeface="汉仪粗简黑简" charset="0"/>
                <a:cs typeface="汉仪粗简黑简" charset="0"/>
                <a:sym typeface="+mn-ea"/>
              </a:rPr>
              <a:t>@Test</a:t>
            </a:r>
            <a:r>
              <a:rPr lang="zh-CN" altLang="en-US" dirty="0">
                <a:solidFill>
                  <a:schemeClr val="dk1"/>
                </a:solidFill>
                <a:latin typeface="汉仪粗简黑简" charset="0"/>
                <a:cs typeface="汉仪粗简黑简" charset="0"/>
                <a:sym typeface="+mn-ea"/>
              </a:rPr>
              <a:t>删除，但其实JunitPerf需要在一次正确的单元测试后</a:t>
            </a:r>
            <a:r>
              <a:rPr lang="zh-CN" altLang="en-US" dirty="0">
                <a:solidFill>
                  <a:schemeClr val="dk1"/>
                </a:solidFill>
                <a:latin typeface="汉仪粗简黑简" charset="0"/>
                <a:cs typeface="汉仪粗简黑简" charset="0"/>
                <a:sym typeface="+mn-ea"/>
              </a:rPr>
              <a:t>调用。</a:t>
            </a:r>
            <a:endParaRPr lang="zh-CN" altLang="en-US" dirty="0">
              <a:solidFill>
                <a:schemeClr val="dk1"/>
              </a:solidFill>
              <a:latin typeface="汉仪粗简黑简" charset="0"/>
              <a:cs typeface="汉仪粗简黑简" charset="0"/>
              <a:sym typeface="+mn-ea"/>
            </a:endParaRPr>
          </a:p>
        </p:txBody>
      </p:sp>
    </p:spTree>
    <p:custDataLst>
      <p:tags r:id="rId4"/>
    </p:custData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2"/>
        </a:solidFill>
        <a:effectLst/>
      </p:bgPr>
    </p:bg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 descr="图形用户界面, 文本, 应用程序&#10;&#10;描述已自动生成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-37" y="0"/>
            <a:ext cx="12192075" cy="6858000"/>
          </a:xfrm>
          <a:prstGeom prst="rect">
            <a:avLst/>
          </a:prstGeom>
        </p:spPr>
      </p:pic>
      <p:sp>
        <p:nvSpPr>
          <p:cNvPr id="2" name="ïṣ1îḑe"/>
          <p:cNvSpPr>
            <a:spLocks noGrp="1"/>
          </p:cNvSpPr>
          <p:nvPr>
            <p:ph type="title" idx="4294967295"/>
          </p:nvPr>
        </p:nvSpPr>
        <p:spPr>
          <a:xfrm>
            <a:off x="669924" y="1"/>
            <a:ext cx="10850563" cy="1028699"/>
          </a:xfr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buClrTx/>
              <a:buSzTx/>
              <a:buFontTx/>
            </a:pPr>
            <a:r>
              <a:rPr lang="zh-CN" altLang="en-US" dirty="0">
                <a:solidFill>
                  <a:schemeClr val="accent1"/>
                </a:solidFill>
                <a:latin typeface="汉仪粗黑 简" charset="0"/>
                <a:ea typeface="汉仪粗黑 简" charset="0"/>
                <a:sym typeface="+mn-ea"/>
              </a:rPr>
              <a:t>感</a:t>
            </a:r>
            <a:r>
              <a:rPr lang="zh-CN" altLang="en-US" dirty="0">
                <a:solidFill>
                  <a:schemeClr val="accent1"/>
                </a:solidFill>
                <a:latin typeface="汉仪粗黑 简" charset="0"/>
                <a:ea typeface="汉仪粗黑 简" charset="0"/>
                <a:sym typeface="+mn-ea"/>
              </a:rPr>
              <a:t>想</a:t>
            </a:r>
            <a:endParaRPr lang="zh-CN" altLang="en-US" dirty="0">
              <a:solidFill>
                <a:schemeClr val="accent1"/>
              </a:solidFill>
              <a:latin typeface="汉仪粗黑 简" charset="0"/>
              <a:ea typeface="汉仪粗黑 简" charset="0"/>
              <a:sym typeface="+mn-ea"/>
            </a:endParaRPr>
          </a:p>
        </p:txBody>
      </p:sp>
      <p:sp>
        <p:nvSpPr>
          <p:cNvPr id="5" name="内容占位符 2"/>
          <p:cNvSpPr txBox="1"/>
          <p:nvPr>
            <p:custDataLst>
              <p:tags r:id="rId3"/>
            </p:custDataLst>
          </p:nvPr>
        </p:nvSpPr>
        <p:spPr>
          <a:xfrm>
            <a:off x="861694" y="1313236"/>
            <a:ext cx="9221342" cy="486309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lnSpc>
                <a:spcPct val="200000"/>
              </a:lnSpc>
              <a:buNone/>
            </a:pPr>
            <a:r>
              <a:rPr lang="en-US" altLang="zh-CN" sz="1800" dirty="0">
                <a:solidFill>
                  <a:schemeClr val="dk1"/>
                </a:solidFill>
                <a:latin typeface="汉仪粗简黑简" charset="0"/>
                <a:cs typeface="汉仪粗简黑简" charset="0"/>
                <a:sym typeface="+mn-ea"/>
              </a:rPr>
              <a:t>	</a:t>
            </a:r>
            <a:r>
              <a:rPr lang="zh-CN" altLang="en-US" sz="1800" dirty="0">
                <a:solidFill>
                  <a:schemeClr val="dk1"/>
                </a:solidFill>
                <a:latin typeface="汉仪粗简黑简" charset="0"/>
                <a:cs typeface="汉仪粗简黑简" charset="0"/>
                <a:sym typeface="+mn-ea"/>
              </a:rPr>
              <a:t>这是第一次进行大规模的软件测试，虽然因为同组的同学代码写的很好，并没有测出什么</a:t>
            </a:r>
            <a:r>
              <a:rPr lang="en-US" altLang="zh-CN" sz="1800" dirty="0">
                <a:solidFill>
                  <a:schemeClr val="dk1"/>
                </a:solidFill>
                <a:latin typeface="汉仪粗简黑简" charset="0"/>
                <a:cs typeface="汉仪粗简黑简" charset="0"/>
                <a:sym typeface="+mn-ea"/>
              </a:rPr>
              <a:t>bug</a:t>
            </a:r>
            <a:r>
              <a:rPr lang="zh-CN" altLang="en-US" sz="1800" dirty="0">
                <a:solidFill>
                  <a:schemeClr val="dk1"/>
                </a:solidFill>
                <a:latin typeface="汉仪粗简黑简" charset="0"/>
                <a:cs typeface="汉仪粗简黑简" charset="0"/>
                <a:sym typeface="+mn-ea"/>
              </a:rPr>
              <a:t>，但是通过这次机会，体会到了单元测试，集成测试，性能测试等测试对于软件工程项目的重要性，比如说在一次重新部署之后跑一遍集成测试可以大概</a:t>
            </a:r>
            <a:r>
              <a:rPr lang="zh-CN" altLang="en-US" sz="1800" dirty="0">
                <a:solidFill>
                  <a:schemeClr val="dk1"/>
                </a:solidFill>
                <a:latin typeface="汉仪粗简黑简" charset="0"/>
                <a:cs typeface="汉仪粗简黑简" charset="0"/>
                <a:sym typeface="+mn-ea"/>
              </a:rPr>
              <a:t>说明修改</a:t>
            </a:r>
            <a:r>
              <a:rPr lang="zh-CN" altLang="en-US" sz="1800" dirty="0">
                <a:solidFill>
                  <a:schemeClr val="dk1"/>
                </a:solidFill>
                <a:latin typeface="汉仪粗简黑简" charset="0"/>
                <a:cs typeface="汉仪粗简黑简" charset="0"/>
                <a:sym typeface="+mn-ea"/>
              </a:rPr>
              <a:t>无误。</a:t>
            </a:r>
            <a:endParaRPr lang="zh-CN" altLang="en-US" sz="1800" dirty="0">
              <a:solidFill>
                <a:schemeClr val="dk1"/>
              </a:solidFill>
              <a:latin typeface="汉仪粗简黑简" charset="0"/>
              <a:cs typeface="汉仪粗简黑简" charset="0"/>
              <a:sym typeface="+mn-ea"/>
            </a:endParaRPr>
          </a:p>
          <a:p>
            <a:pPr marL="457200" lvl="1" indent="0">
              <a:lnSpc>
                <a:spcPct val="200000"/>
              </a:lnSpc>
              <a:buNone/>
            </a:pPr>
            <a:r>
              <a:rPr lang="en-US" altLang="zh-CN" sz="1800" dirty="0">
                <a:solidFill>
                  <a:schemeClr val="dk1"/>
                </a:solidFill>
                <a:latin typeface="汉仪粗简黑简" charset="0"/>
                <a:cs typeface="汉仪粗简黑简" charset="0"/>
                <a:sym typeface="+mn-ea"/>
              </a:rPr>
              <a:t>	</a:t>
            </a:r>
            <a:r>
              <a:rPr lang="zh-CN" altLang="en-US" sz="1800" dirty="0">
                <a:solidFill>
                  <a:schemeClr val="dk1"/>
                </a:solidFill>
                <a:latin typeface="汉仪粗简黑简" charset="0"/>
                <a:cs typeface="汉仪粗简黑简" charset="0"/>
                <a:sym typeface="+mn-ea"/>
              </a:rPr>
              <a:t>通过这次实验，深刻理解了</a:t>
            </a:r>
            <a:r>
              <a:rPr lang="en-US" altLang="zh-CN" sz="1800" dirty="0">
                <a:solidFill>
                  <a:schemeClr val="dk1"/>
                </a:solidFill>
                <a:latin typeface="汉仪粗简黑简" charset="0"/>
                <a:cs typeface="汉仪粗简黑简" charset="0"/>
                <a:sym typeface="+mn-ea"/>
              </a:rPr>
              <a:t>git</a:t>
            </a:r>
            <a:r>
              <a:rPr lang="zh-CN" altLang="en-US" sz="1800" dirty="0">
                <a:solidFill>
                  <a:schemeClr val="dk1"/>
                </a:solidFill>
                <a:latin typeface="汉仪粗简黑简" charset="0"/>
                <a:cs typeface="汉仪粗简黑简" charset="0"/>
                <a:sym typeface="+mn-ea"/>
              </a:rPr>
              <a:t>的基础使用，</a:t>
            </a:r>
            <a:r>
              <a:rPr lang="en-US" altLang="zh-CN" sz="1800" dirty="0">
                <a:solidFill>
                  <a:schemeClr val="dk1"/>
                </a:solidFill>
                <a:latin typeface="汉仪粗简黑简" charset="0"/>
                <a:cs typeface="汉仪粗简黑简" charset="0"/>
                <a:sym typeface="+mn-ea"/>
              </a:rPr>
              <a:t>apifox</a:t>
            </a:r>
            <a:r>
              <a:rPr lang="zh-CN" altLang="en-US" sz="1800" dirty="0">
                <a:solidFill>
                  <a:schemeClr val="dk1"/>
                </a:solidFill>
                <a:latin typeface="汉仪粗简黑简" charset="0"/>
                <a:cs typeface="汉仪粗简黑简" charset="0"/>
                <a:sym typeface="+mn-ea"/>
              </a:rPr>
              <a:t>的前后端对接，在代码分工合作上收获了更多的经验，</a:t>
            </a:r>
            <a:r>
              <a:rPr lang="zh-CN" altLang="en-US" sz="1800" dirty="0">
                <a:solidFill>
                  <a:schemeClr val="dk1"/>
                </a:solidFill>
                <a:latin typeface="汉仪粗简黑简" charset="0"/>
                <a:cs typeface="汉仪粗简黑简" charset="0"/>
                <a:sym typeface="+mn-ea"/>
              </a:rPr>
              <a:t>最后感谢同组的同学和三位老师在开发过程中对我的</a:t>
            </a:r>
            <a:r>
              <a:rPr lang="zh-CN" altLang="en-US" sz="1800" dirty="0">
                <a:solidFill>
                  <a:schemeClr val="dk1"/>
                </a:solidFill>
                <a:latin typeface="汉仪粗简黑简" charset="0"/>
                <a:cs typeface="汉仪粗简黑简" charset="0"/>
                <a:sym typeface="+mn-ea"/>
              </a:rPr>
              <a:t>帮助。</a:t>
            </a:r>
            <a:endParaRPr lang="zh-CN" altLang="en-US" sz="1800" dirty="0">
              <a:solidFill>
                <a:schemeClr val="dk1"/>
              </a:solidFill>
              <a:latin typeface="汉仪粗简黑简" charset="0"/>
              <a:cs typeface="汉仪粗简黑简" charset="0"/>
              <a:sym typeface="+mn-ea"/>
            </a:endParaRPr>
          </a:p>
        </p:txBody>
      </p:sp>
    </p:spTree>
    <p:custDataLst>
      <p:tags r:id="rId4"/>
    </p:custData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ṧ1îḑ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标题 8"/>
          <p:cNvSpPr/>
          <p:nvPr>
            <p:ph type="title" idx="1"/>
            <p:custDataLst>
              <p:tags r:id="rId1"/>
            </p:custDataLst>
          </p:nvPr>
        </p:nvSpPr>
        <p:spPr/>
        <p:txBody>
          <a:bodyPr/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en-US" altLang="zh-CN" sz="9800">
                <a:solidFill>
                  <a:srgbClr val="000000"/>
                </a:solidFill>
              </a:rPr>
              <a:t>Thanks</a:t>
            </a:r>
            <a:endParaRPr lang="en-US" altLang="zh-CN" sz="9800">
              <a:solidFill>
                <a:srgbClr val="000000"/>
              </a:solidFill>
            </a:endParaRPr>
          </a:p>
        </p:txBody>
      </p:sp>
      <p:graphicFrame>
        <p:nvGraphicFramePr>
          <p:cNvPr id="7" name="ïṩḻiḓé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ïṩḻiḓé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4"/>
    </p:custDataLst>
  </p:cSld>
  <p:clrMapOvr>
    <a:masterClrMapping/>
  </p:clrMapOvr>
</p:sld>
</file>

<file path=ppt/tags/tag1.xml><?xml version="1.0" encoding="utf-8"?>
<p:tagLst xmlns:p="http://schemas.openxmlformats.org/presentationml/2006/main">
  <p:tag name="KSO_WM_UNIT_SUBTYPE" val="v"/>
  <p:tag name="KSO_WM_TEMPLATE_CATEGORY" val="chip"/>
  <p:tag name="KSO_WM_TEMPLATE_INDEX" val="20220976"/>
  <p:tag name="KSO_WM_UNIT_TYPE" val="i"/>
  <p:tag name="KSO_WM_UNIT_INDEX" val="1"/>
  <p:tag name="KSO_WM_UNIT_ID" val="chip20220976_2*i*1"/>
  <p:tag name="KSO_WM_BEAUTIFY_FLAG" val="#wm#"/>
  <p:tag name="KSO_WM_TAG_VERSION" val="1.0"/>
  <p:tag name="KSO_WM_CHIP_GROUPID" val="618ddf349d7b144ec989f16d"/>
  <p:tag name="KSO_WM_CHIP_XID" val="618e0a8a5268663be886272f"/>
  <p:tag name="KSO_WM_UNIT_DEC_AREA_ID" val="cff9e974689741f99837ddeb0f1bc4ef"/>
  <p:tag name="KSO_WM_CHIP_FILLAREA_FILL_RULE" val="{&quot;fill_align&quot;:&quot;cm&quot;,&quot;fill_effect&quot;:[],&quot;fill_mode&quot;:&quot;full&quot;,&quot;sacle_strategy&quot;:&quot;stretch&quot;}"/>
  <p:tag name="KSO_WM_UNIT_DEC_SUPPORTCHANGEPIC" val="0"/>
  <p:tag name="KSO_WM_UNIT_DEC_CHANGEPICRESERVED" val="1"/>
  <p:tag name="KSO_WM_ASSEMBLE_CHIP_INDEX" val="75e01884e4fe4ed6be163493da3e0ec6"/>
</p:tagLst>
</file>

<file path=ppt/tags/tag10.xml><?xml version="1.0" encoding="utf-8"?>
<p:tagLst xmlns:p="http://schemas.openxmlformats.org/presentationml/2006/main">
  <p:tag name="KSO_WM_UNIT_SUBTYPE" val="v"/>
  <p:tag name="KSO_WM_TEMPLATE_CATEGORY" val="chip"/>
  <p:tag name="KSO_WM_TEMPLATE_INDEX" val="20220976"/>
  <p:tag name="KSO_WM_UNIT_TYPE" val="i"/>
  <p:tag name="KSO_WM_UNIT_INDEX" val="1"/>
  <p:tag name="KSO_WM_UNIT_ID" val="chip20220976_10*i*1"/>
  <p:tag name="KSO_WM_BEAUTIFY_FLAG" val="#wm#"/>
  <p:tag name="KSO_WM_TAG_VERSION" val="1.0"/>
  <p:tag name="KSO_WM_CHIP_GROUPID" val="618ddf349d7b144ec989f16d"/>
  <p:tag name="KSO_WM_CHIP_XID" val="618e0a8a5268663be886272e"/>
  <p:tag name="KSO_WM_UNIT_DEC_AREA_ID" val="d9eae15fe76b40e6984debcabf97c036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effect&quot;:[],&quot;fill_mode&quot;:&quot;full&quot;,&quot;sacle_strategy&quot;:&quot;stretch&quot;}"/>
  <p:tag name="KSO_WM_UNIT_DEC_SUPPORTCHANGEPIC" val="0"/>
  <p:tag name="KSO_WM_UNIT_DEC_CHANGEPICRESERVED" val="1"/>
  <p:tag name="KSO_WM_ASSEMBLE_CHIP_INDEX" val="a0294ecdd6df492db45eee51a79bb287"/>
</p:tagLst>
</file>

<file path=ppt/tags/tag100.xml><?xml version="1.0" encoding="utf-8"?>
<p:tagLst xmlns:p="http://schemas.openxmlformats.org/presentationml/2006/main">
  <p:tag name="KSO_WM_SLIDE_BACKGROUND_TYPE" val="general"/>
</p:tagLst>
</file>

<file path=ppt/tags/tag101.xml><?xml version="1.0" encoding="utf-8"?>
<p:tagLst xmlns:p="http://schemas.openxmlformats.org/presentationml/2006/main">
  <p:tag name="KSO_WM_SLIDE_BACKGROUND_TYPE" val="general"/>
</p:tagLst>
</file>

<file path=ppt/tags/tag102.xml><?xml version="1.0" encoding="utf-8"?>
<p:tagLst xmlns:p="http://schemas.openxmlformats.org/presentationml/2006/main">
  <p:tag name="KSO_WM_SLIDE_BACKGROUND_TYPE" val="general"/>
</p:tagLst>
</file>

<file path=ppt/tags/tag10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SUBTYPE" val="h"/>
  <p:tag name="KSO_WM_UNIT_TYPE" val="i"/>
  <p:tag name="KSO_WM_UNIT_INDEX" val="1"/>
  <p:tag name="KSO_WM_UNIT_ID" val="chip20203882_5*i*1"/>
  <p:tag name="KSO_WM_TEMPLATE_CATEGORY" val="chip"/>
  <p:tag name="KSO_WM_TEMPLATE_INDEX" val="20203882"/>
  <p:tag name="KSO_WM_UNIT_LAYERLEVEL" val="1"/>
  <p:tag name="KSO_WM_TAG_VERSION" val="1.0"/>
  <p:tag name="KSO_WM_BEAUTIFY_FLAG" val="#wm#"/>
  <p:tag name="KSO_WM_CHIP_GROUPID" val="5f8961c8a61ec3b5528498be"/>
  <p:tag name="KSO_WM_CHIP_XID" val="5f8961c8a61ec3b5528498c3"/>
  <p:tag name="KSO_WM_UNIT_DEC_AREA_ID" val="446eff1afa5a465b9c2e5a2faacad3aa"/>
  <p:tag name="KSO_WM_UNIT_DECORATE_INFO" val=""/>
  <p:tag name="KSO_WM_UNIT_SM_LIMIT_TYPE" val=""/>
  <p:tag name="KSO_WM_CHIP_FILLAREA_FILL_RULE" val="{&quot;fill_align&quot;:&quot;cm&quot;,&quot;fill_effect&quot;:[],&quot;fill_mode&quot;:&quot;full&quot;,&quot;sacle_strategy&quot;:&quot;stretch&quot;}"/>
  <p:tag name="KSO_WM_ASSEMBLE_CHIP_INDEX" val="a2b0ed3c236b4f1d9e52d03ecc06ec7e"/>
  <p:tag name="KSO_WM_SLIDE_BACKGROUND_TYPE" val="frame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10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SUBTYPE" val="t"/>
  <p:tag name="KSO_WM_UNIT_TYPE" val="i"/>
  <p:tag name="KSO_WM_UNIT_INDEX" val="1"/>
  <p:tag name="KSO_WM_UNIT_ID" val="chip20203882_3*i*1"/>
  <p:tag name="KSO_WM_TEMPLATE_CATEGORY" val="chip"/>
  <p:tag name="KSO_WM_TEMPLATE_INDEX" val="20203882"/>
  <p:tag name="KSO_WM_UNIT_LAYERLEVEL" val="1"/>
  <p:tag name="KSO_WM_TAG_VERSION" val="1.0"/>
  <p:tag name="KSO_WM_BEAUTIFY_FLAG" val="#wm#"/>
  <p:tag name="KSO_WM_CHIP_GROUPID" val="5f8961c8a61ec3b5528498be"/>
  <p:tag name="KSO_WM_CHIP_XID" val="5f8961c8a61ec3b5528498c1"/>
  <p:tag name="KSO_WM_UNIT_DEC_AREA_ID" val="7fcc4dc72f8b46d6a1ad80e7e501ed08"/>
  <p:tag name="KSO_WM_UNIT_DECORATE_INFO" val=""/>
  <p:tag name="KSO_WM_UNIT_SM_LIMIT_TYPE" val=""/>
  <p:tag name="KSO_WM_CHIP_FILLAREA_FILL_RULE" val="{&quot;fill_align&quot;:&quot;cm&quot;,&quot;fill_effect&quot;:[],&quot;fill_mode&quot;:&quot;full&quot;,&quot;sacle_strategy&quot;:&quot;stretch&quot;}"/>
  <p:tag name="KSO_WM_ASSEMBLE_CHIP_INDEX" val="a3c4d0393b974d00b2bf8f7553c744b7"/>
  <p:tag name="KSO_WM_SLIDE_BACKGROUND_TYPE" val="frame"/>
</p:tagLst>
</file>

<file path=ppt/tags/tag10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SUBTYPE" val="t"/>
  <p:tag name="KSO_WM_UNIT_TYPE" val="i"/>
  <p:tag name="KSO_WM_UNIT_INDEX" val="1"/>
  <p:tag name="KSO_WM_UNIT_ID" val="chip20203882_4*i*1"/>
  <p:tag name="KSO_WM_TEMPLATE_CATEGORY" val="chip"/>
  <p:tag name="KSO_WM_TEMPLATE_INDEX" val="20203882"/>
  <p:tag name="KSO_WM_UNIT_LAYERLEVEL" val="1"/>
  <p:tag name="KSO_WM_TAG_VERSION" val="1.0"/>
  <p:tag name="KSO_WM_BEAUTIFY_FLAG" val="#wm#"/>
  <p:tag name="KSO_WM_CHIP_GROUPID" val="5f8961c8a61ec3b5528498be"/>
  <p:tag name="KSO_WM_CHIP_XID" val="5f8961c8a61ec3b5528498c2"/>
  <p:tag name="KSO_WM_UNIT_DEC_AREA_ID" val="2041d03cb4664ac69509d322aaab6ab1"/>
  <p:tag name="KSO_WM_UNIT_DECORATE_INFO" val=""/>
  <p:tag name="KSO_WM_UNIT_SM_LIMIT_TYPE" val=""/>
  <p:tag name="KSO_WM_CHIP_FILLAREA_FILL_RULE" val="{&quot;fill_align&quot;:&quot;cm&quot;,&quot;fill_effect&quot;:[],&quot;fill_mode&quot;:&quot;full&quot;,&quot;sacle_strategy&quot;:&quot;stretch&quot;}"/>
  <p:tag name="KSO_WM_ASSEMBLE_CHIP_INDEX" val="b098931922e44d3dbe7e2e01cfeb9f90"/>
  <p:tag name="KSO_WM_SLIDE_BACKGROUND_TYPE" val="frame"/>
</p:tagLst>
</file>

<file path=ppt/tags/tag106.xml><?xml version="1.0" encoding="utf-8"?>
<p:tagLst xmlns:p="http://schemas.openxmlformats.org/presentationml/2006/main">
  <p:tag name="KSO_WM_SLIDE_BACKGROUND_TYPE" val="frame"/>
</p:tagLst>
</file>

<file path=ppt/tags/tag107.xml><?xml version="1.0" encoding="utf-8"?>
<p:tagLst xmlns:p="http://schemas.openxmlformats.org/presentationml/2006/main">
  <p:tag name="KSO_WM_SLIDE_BACKGROUND_TYPE" val="frame"/>
</p:tagLst>
</file>

<file path=ppt/tags/tag108.xml><?xml version="1.0" encoding="utf-8"?>
<p:tagLst xmlns:p="http://schemas.openxmlformats.org/presentationml/2006/main">
  <p:tag name="KSO_WM_SLIDE_BACKGROUND_TYPE" val="frame"/>
</p:tagLst>
</file>

<file path=ppt/tags/tag109.xml><?xml version="1.0" encoding="utf-8"?>
<p:tagLst xmlns:p="http://schemas.openxmlformats.org/presentationml/2006/main">
  <p:tag name="KSO_WM_SLIDE_BACKGROUND_TYPE" val="frame"/>
</p:tagLst>
</file>

<file path=ppt/tags/tag11.xml><?xml version="1.0" encoding="utf-8"?>
<p:tagLst xmlns:p="http://schemas.openxmlformats.org/presentationml/2006/main">
  <p:tag name="KSO_WM_UNIT_SUBTYPE" val="v"/>
  <p:tag name="KSO_WM_TEMPLATE_CATEGORY" val="chip"/>
  <p:tag name="KSO_WM_TEMPLATE_INDEX" val="20220976"/>
  <p:tag name="KSO_WM_UNIT_TYPE" val="i"/>
  <p:tag name="KSO_WM_UNIT_INDEX" val="1"/>
  <p:tag name="KSO_WM_UNIT_ID" val="chip20220976_10*i*1"/>
  <p:tag name="KSO_WM_BEAUTIFY_FLAG" val="#wm#"/>
  <p:tag name="KSO_WM_TAG_VERSION" val="1.0"/>
  <p:tag name="KSO_WM_CHIP_GROUPID" val="618ddf349d7b144ec989f16d"/>
  <p:tag name="KSO_WM_CHIP_XID" val="618e0a8a5268663be886272e"/>
  <p:tag name="KSO_WM_UNIT_DEC_AREA_ID" val="d9eae15fe76b40e6984debcabf97c036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effect&quot;:[],&quot;fill_mode&quot;:&quot;full&quot;,&quot;sacle_strategy&quot;:&quot;stretch&quot;}"/>
  <p:tag name="KSO_WM_UNIT_DEC_SUPPORTCHANGEPIC" val="0"/>
  <p:tag name="KSO_WM_UNIT_DEC_CHANGEPICRESERVED" val="1"/>
  <p:tag name="KSO_WM_ASSEMBLE_CHIP_INDEX" val="a0294ecdd6df492db45eee51a79bb287"/>
</p:tagLst>
</file>

<file path=ppt/tags/tag110.xml><?xml version="1.0" encoding="utf-8"?>
<p:tagLst xmlns:p="http://schemas.openxmlformats.org/presentationml/2006/main">
  <p:tag name="KSO_WM_SLIDE_BACKGROUND_TYPE" val="frame"/>
</p:tagLst>
</file>

<file path=ppt/tags/tag11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SUBTYPE" val="h"/>
  <p:tag name="KSO_WM_UNIT_TYPE" val="i"/>
  <p:tag name="KSO_WM_UNIT_INDEX" val="1"/>
  <p:tag name="KSO_WM_UNIT_ID" val="chip20203882_5*i*1"/>
  <p:tag name="KSO_WM_TEMPLATE_CATEGORY" val="chip"/>
  <p:tag name="KSO_WM_TEMPLATE_INDEX" val="20203882"/>
  <p:tag name="KSO_WM_UNIT_LAYERLEVEL" val="1"/>
  <p:tag name="KSO_WM_TAG_VERSION" val="1.0"/>
  <p:tag name="KSO_WM_BEAUTIFY_FLAG" val="#wm#"/>
  <p:tag name="KSO_WM_CHIP_GROUPID" val="5f8961c8a61ec3b5528498be"/>
  <p:tag name="KSO_WM_CHIP_XID" val="5f8961c8a61ec3b5528498c3"/>
  <p:tag name="KSO_WM_UNIT_DEC_AREA_ID" val="102a45657d164bea82062ec1082e33a9"/>
  <p:tag name="KSO_WM_UNIT_DECORATE_INFO" val=""/>
  <p:tag name="KSO_WM_UNIT_SM_LIMIT_TYPE" val=""/>
  <p:tag name="KSO_WM_CHIP_FILLAREA_FILL_RULE" val="{&quot;fill_align&quot;:&quot;cm&quot;,&quot;fill_effect&quot;:[],&quot;fill_mode&quot;:&quot;full&quot;,&quot;sacle_strategy&quot;:&quot;stretch&quot;}"/>
  <p:tag name="KSO_WM_ASSEMBLE_CHIP_INDEX" val="434a09e42620420783583ef726247e17"/>
  <p:tag name="KSO_WM_SLIDE_BACKGROUND_TYPE" val="leftRight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11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SUBTYPE" val="t"/>
  <p:tag name="KSO_WM_UNIT_TYPE" val="i"/>
  <p:tag name="KSO_WM_UNIT_INDEX" val="1"/>
  <p:tag name="KSO_WM_UNIT_ID" val="chip20203882_3*i*1"/>
  <p:tag name="KSO_WM_TEMPLATE_CATEGORY" val="chip"/>
  <p:tag name="KSO_WM_TEMPLATE_INDEX" val="20203882"/>
  <p:tag name="KSO_WM_UNIT_LAYERLEVEL" val="1"/>
  <p:tag name="KSO_WM_TAG_VERSION" val="1.0"/>
  <p:tag name="KSO_WM_BEAUTIFY_FLAG" val="#wm#"/>
  <p:tag name="KSO_WM_CHIP_GROUPID" val="5f8961c8a61ec3b5528498be"/>
  <p:tag name="KSO_WM_CHIP_XID" val="5f8961c8a61ec3b5528498c1"/>
  <p:tag name="KSO_WM_UNIT_DEC_AREA_ID" val="9ca9bea965fd4ddf9e78fbe8c51655a5"/>
  <p:tag name="KSO_WM_UNIT_DECORATE_INFO" val=""/>
  <p:tag name="KSO_WM_UNIT_SM_LIMIT_TYPE" val=""/>
  <p:tag name="KSO_WM_CHIP_FILLAREA_FILL_RULE" val="{&quot;fill_align&quot;:&quot;cm&quot;,&quot;fill_effect&quot;:[],&quot;fill_mode&quot;:&quot;full&quot;,&quot;sacle_strategy&quot;:&quot;stretch&quot;}"/>
  <p:tag name="KSO_WM_ASSEMBLE_CHIP_INDEX" val="65d3744e40774228aa185c290f8912e1"/>
  <p:tag name="KSO_WM_SLIDE_BACKGROUND_TYPE" val="leftRight"/>
</p:tagLst>
</file>

<file path=ppt/tags/tag11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SUBTYPE" val="t"/>
  <p:tag name="KSO_WM_UNIT_TYPE" val="i"/>
  <p:tag name="KSO_WM_UNIT_INDEX" val="1"/>
  <p:tag name="KSO_WM_UNIT_ID" val="chip20203882_4*i*1"/>
  <p:tag name="KSO_WM_TEMPLATE_CATEGORY" val="chip"/>
  <p:tag name="KSO_WM_TEMPLATE_INDEX" val="20203882"/>
  <p:tag name="KSO_WM_UNIT_LAYERLEVEL" val="1"/>
  <p:tag name="KSO_WM_TAG_VERSION" val="1.0"/>
  <p:tag name="KSO_WM_BEAUTIFY_FLAG" val="#wm#"/>
  <p:tag name="KSO_WM_CHIP_GROUPID" val="5f8961c8a61ec3b5528498be"/>
  <p:tag name="KSO_WM_CHIP_XID" val="5f8961c8a61ec3b5528498c2"/>
  <p:tag name="KSO_WM_UNIT_DEC_AREA_ID" val="70ae207083944ec78dbc07ef861f33ac"/>
  <p:tag name="KSO_WM_UNIT_DECORATE_INFO" val=""/>
  <p:tag name="KSO_WM_UNIT_SM_LIMIT_TYPE" val=""/>
  <p:tag name="KSO_WM_CHIP_FILLAREA_FILL_RULE" val="{&quot;fill_align&quot;:&quot;cm&quot;,&quot;fill_effect&quot;:[],&quot;fill_mode&quot;:&quot;full&quot;,&quot;sacle_strategy&quot;:&quot;stretch&quot;}"/>
  <p:tag name="KSO_WM_ASSEMBLE_CHIP_INDEX" val="0baecc7430f74bf2ace7a70d67266893"/>
  <p:tag name="KSO_WM_SLIDE_BACKGROUND_TYPE" val="leftRight"/>
</p:tagLst>
</file>

<file path=ppt/tags/tag114.xml><?xml version="1.0" encoding="utf-8"?>
<p:tagLst xmlns:p="http://schemas.openxmlformats.org/presentationml/2006/main">
  <p:tag name="KSO_WM_SLIDE_BACKGROUND_TYPE" val="leftRight"/>
</p:tagLst>
</file>

<file path=ppt/tags/tag115.xml><?xml version="1.0" encoding="utf-8"?>
<p:tagLst xmlns:p="http://schemas.openxmlformats.org/presentationml/2006/main">
  <p:tag name="KSO_WM_SLIDE_BACKGROUND_TYPE" val="leftRight"/>
</p:tagLst>
</file>

<file path=ppt/tags/tag116.xml><?xml version="1.0" encoding="utf-8"?>
<p:tagLst xmlns:p="http://schemas.openxmlformats.org/presentationml/2006/main">
  <p:tag name="KSO_WM_SLIDE_BACKGROUND_TYPE" val="leftRight"/>
</p:tagLst>
</file>

<file path=ppt/tags/tag117.xml><?xml version="1.0" encoding="utf-8"?>
<p:tagLst xmlns:p="http://schemas.openxmlformats.org/presentationml/2006/main">
  <p:tag name="KSO_WM_SLIDE_BACKGROUND_TYPE" val="leftRight"/>
</p:tagLst>
</file>

<file path=ppt/tags/tag118.xml><?xml version="1.0" encoding="utf-8"?>
<p:tagLst xmlns:p="http://schemas.openxmlformats.org/presentationml/2006/main">
  <p:tag name="KSO_WM_SLIDE_BACKGROUND_TYPE" val="leftRight"/>
</p:tagLst>
</file>

<file path=ppt/tags/tag119.xml><?xml version="1.0" encoding="utf-8"?>
<p:tagLst xmlns:p="http://schemas.openxmlformats.org/presentationml/2006/main">
  <p:tag name="KSO_WM_SLIDE_BACKGROUND_TYPE" val="leftRight"/>
</p:tagLst>
</file>

<file path=ppt/tags/tag12.xml><?xml version="1.0" encoding="utf-8"?>
<p:tagLst xmlns:p="http://schemas.openxmlformats.org/presentationml/2006/main">
  <p:tag name="KSO_WM_UNIT_SUBTYPE" val="v"/>
  <p:tag name="KSO_WM_TEMPLATE_CATEGORY" val="chip"/>
  <p:tag name="KSO_WM_TEMPLATE_INDEX" val="20220976"/>
  <p:tag name="KSO_WM_UNIT_TYPE" val="i"/>
  <p:tag name="KSO_WM_UNIT_INDEX" val="1"/>
  <p:tag name="KSO_WM_UNIT_ID" val="chip20220976_10*i*1"/>
  <p:tag name="KSO_WM_BEAUTIFY_FLAG" val="#wm#"/>
  <p:tag name="KSO_WM_TAG_VERSION" val="1.0"/>
  <p:tag name="KSO_WM_CHIP_GROUPID" val="618ddf349d7b144ec989f16d"/>
  <p:tag name="KSO_WM_CHIP_XID" val="618e0a8a5268663be886272e"/>
  <p:tag name="KSO_WM_UNIT_DEC_AREA_ID" val="d9eae15fe76b40e6984debcabf97c036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effect&quot;:[],&quot;fill_mode&quot;:&quot;full&quot;,&quot;sacle_strategy&quot;:&quot;stretch&quot;}"/>
  <p:tag name="KSO_WM_UNIT_DEC_SUPPORTCHANGEPIC" val="0"/>
  <p:tag name="KSO_WM_UNIT_DEC_CHANGEPICRESERVED" val="1"/>
  <p:tag name="KSO_WM_ASSEMBLE_CHIP_INDEX" val="a0294ecdd6df492db45eee51a79bb287"/>
</p:tagLst>
</file>

<file path=ppt/tags/tag12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SUBTYPE" val="h"/>
  <p:tag name="KSO_WM_UNIT_TYPE" val="i"/>
  <p:tag name="KSO_WM_UNIT_INDEX" val="1"/>
  <p:tag name="KSO_WM_UNIT_ID" val="chip20203882_5*i*1"/>
  <p:tag name="KSO_WM_TEMPLATE_CATEGORY" val="chip"/>
  <p:tag name="KSO_WM_TEMPLATE_INDEX" val="20203882"/>
  <p:tag name="KSO_WM_UNIT_LAYERLEVEL" val="1"/>
  <p:tag name="KSO_WM_TAG_VERSION" val="1.0"/>
  <p:tag name="KSO_WM_BEAUTIFY_FLAG" val="#wm#"/>
  <p:tag name="KSO_WM_CHIP_GROUPID" val="5f8961c8a61ec3b5528498be"/>
  <p:tag name="KSO_WM_CHIP_XID" val="5f8961c8a61ec3b5528498c3"/>
  <p:tag name="KSO_WM_UNIT_DEC_AREA_ID" val="8ba042b46cae46cbb48fb5cb6a021986"/>
  <p:tag name="KSO_WM_UNIT_DECORATE_INFO" val=""/>
  <p:tag name="KSO_WM_UNIT_SM_LIMIT_TYPE" val=""/>
  <p:tag name="KSO_WM_CHIP_FILLAREA_FILL_RULE" val="{&quot;fill_align&quot;:&quot;cm&quot;,&quot;fill_effect&quot;:[],&quot;fill_mode&quot;:&quot;full&quot;,&quot;sacle_strategy&quot;:&quot;stretch&quot;}"/>
  <p:tag name="KSO_WM_ASSEMBLE_CHIP_INDEX" val="492f57a1e8bf4283920c6a9b7f5fee06"/>
  <p:tag name="KSO_WM_SLIDE_BACKGROUND_TYPE" val="topBottom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12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SUBTYPE" val="t"/>
  <p:tag name="KSO_WM_UNIT_TYPE" val="i"/>
  <p:tag name="KSO_WM_UNIT_INDEX" val="1"/>
  <p:tag name="KSO_WM_UNIT_ID" val="chip20203882_3*i*1"/>
  <p:tag name="KSO_WM_TEMPLATE_CATEGORY" val="chip"/>
  <p:tag name="KSO_WM_TEMPLATE_INDEX" val="20203882"/>
  <p:tag name="KSO_WM_UNIT_LAYERLEVEL" val="1"/>
  <p:tag name="KSO_WM_TAG_VERSION" val="1.0"/>
  <p:tag name="KSO_WM_BEAUTIFY_FLAG" val="#wm#"/>
  <p:tag name="KSO_WM_CHIP_GROUPID" val="5f8961c8a61ec3b5528498be"/>
  <p:tag name="KSO_WM_CHIP_XID" val="5f8961c8a61ec3b5528498c1"/>
  <p:tag name="KSO_WM_UNIT_DEC_AREA_ID" val="a6b225a218524a58ab6c10355cb7e0c6"/>
  <p:tag name="KSO_WM_UNIT_DECORATE_INFO" val=""/>
  <p:tag name="KSO_WM_UNIT_SM_LIMIT_TYPE" val=""/>
  <p:tag name="KSO_WM_CHIP_FILLAREA_FILL_RULE" val="{&quot;fill_align&quot;:&quot;cm&quot;,&quot;fill_effect&quot;:[],&quot;fill_mode&quot;:&quot;full&quot;,&quot;sacle_strategy&quot;:&quot;stretch&quot;}"/>
  <p:tag name="KSO_WM_ASSEMBLE_CHIP_INDEX" val="0fb50cc5fcc94d83b80c457c226e720f"/>
  <p:tag name="KSO_WM_SLIDE_BACKGROUND_TYPE" val="topBottom"/>
</p:tagLst>
</file>

<file path=ppt/tags/tag12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SUBTYPE" val="t"/>
  <p:tag name="KSO_WM_UNIT_TYPE" val="i"/>
  <p:tag name="KSO_WM_UNIT_INDEX" val="1"/>
  <p:tag name="KSO_WM_UNIT_ID" val="chip20203882_4*i*1"/>
  <p:tag name="KSO_WM_TEMPLATE_CATEGORY" val="chip"/>
  <p:tag name="KSO_WM_TEMPLATE_INDEX" val="20203882"/>
  <p:tag name="KSO_WM_UNIT_LAYERLEVEL" val="1"/>
  <p:tag name="KSO_WM_TAG_VERSION" val="1.0"/>
  <p:tag name="KSO_WM_BEAUTIFY_FLAG" val="#wm#"/>
  <p:tag name="KSO_WM_CHIP_GROUPID" val="5f8961c8a61ec3b5528498be"/>
  <p:tag name="KSO_WM_CHIP_XID" val="5f8961c8a61ec3b5528498c2"/>
  <p:tag name="KSO_WM_UNIT_DEC_AREA_ID" val="96eeecaa912149abb3bbf2c68843311f"/>
  <p:tag name="KSO_WM_UNIT_DECORATE_INFO" val=""/>
  <p:tag name="KSO_WM_UNIT_SM_LIMIT_TYPE" val=""/>
  <p:tag name="KSO_WM_CHIP_FILLAREA_FILL_RULE" val="{&quot;fill_align&quot;:&quot;cm&quot;,&quot;fill_effect&quot;:[],&quot;fill_mode&quot;:&quot;full&quot;,&quot;sacle_strategy&quot;:&quot;stretch&quot;}"/>
  <p:tag name="KSO_WM_ASSEMBLE_CHIP_INDEX" val="50a1cfc6fa8545789b1bff3db903ea87"/>
  <p:tag name="KSO_WM_SLIDE_BACKGROUND_TYPE" val="topBottom"/>
</p:tagLst>
</file>

<file path=ppt/tags/tag123.xml><?xml version="1.0" encoding="utf-8"?>
<p:tagLst xmlns:p="http://schemas.openxmlformats.org/presentationml/2006/main">
  <p:tag name="KSO_WM_SLIDE_BACKGROUND_TYPE" val="topBottom"/>
</p:tagLst>
</file>

<file path=ppt/tags/tag124.xml><?xml version="1.0" encoding="utf-8"?>
<p:tagLst xmlns:p="http://schemas.openxmlformats.org/presentationml/2006/main">
  <p:tag name="KSO_WM_SLIDE_BACKGROUND_TYPE" val="topBottom"/>
</p:tagLst>
</file>

<file path=ppt/tags/tag125.xml><?xml version="1.0" encoding="utf-8"?>
<p:tagLst xmlns:p="http://schemas.openxmlformats.org/presentationml/2006/main">
  <p:tag name="KSO_WM_SLIDE_BACKGROUND_TYPE" val="topBottom"/>
</p:tagLst>
</file>

<file path=ppt/tags/tag126.xml><?xml version="1.0" encoding="utf-8"?>
<p:tagLst xmlns:p="http://schemas.openxmlformats.org/presentationml/2006/main">
  <p:tag name="KSO_WM_SLIDE_BACKGROUND_TYPE" val="topBottom"/>
</p:tagLst>
</file>

<file path=ppt/tags/tag127.xml><?xml version="1.0" encoding="utf-8"?>
<p:tagLst xmlns:p="http://schemas.openxmlformats.org/presentationml/2006/main">
  <p:tag name="KSO_WM_SLIDE_BACKGROUND_TYPE" val="topBottom"/>
</p:tagLst>
</file>

<file path=ppt/tags/tag128.xml><?xml version="1.0" encoding="utf-8"?>
<p:tagLst xmlns:p="http://schemas.openxmlformats.org/presentationml/2006/main">
  <p:tag name="KSO_WM_SLIDE_BACKGROUND_TYPE" val="topBottom"/>
</p:tagLst>
</file>

<file path=ppt/tags/tag12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SUBTYPE" val="h"/>
  <p:tag name="KSO_WM_UNIT_TYPE" val="i"/>
  <p:tag name="KSO_WM_UNIT_INDEX" val="1"/>
  <p:tag name="KSO_WM_UNIT_ID" val="chip20203882_5*i*1"/>
  <p:tag name="KSO_WM_TEMPLATE_CATEGORY" val="chip"/>
  <p:tag name="KSO_WM_TEMPLATE_INDEX" val="20203882"/>
  <p:tag name="KSO_WM_UNIT_LAYERLEVEL" val="1"/>
  <p:tag name="KSO_WM_TAG_VERSION" val="1.0"/>
  <p:tag name="KSO_WM_BEAUTIFY_FLAG" val="#wm#"/>
  <p:tag name="KSO_WM_CHIP_GROUPID" val="5f8961c8a61ec3b5528498be"/>
  <p:tag name="KSO_WM_CHIP_XID" val="5f8961c8a61ec3b5528498c3"/>
  <p:tag name="KSO_WM_UNIT_DEC_AREA_ID" val="9835e29437934e9493c9ceebb9af1954"/>
  <p:tag name="KSO_WM_UNIT_DECORATE_INFO" val=""/>
  <p:tag name="KSO_WM_UNIT_SM_LIMIT_TYPE" val=""/>
  <p:tag name="KSO_WM_CHIP_FILLAREA_FILL_RULE" val="{&quot;fill_align&quot;:&quot;cm&quot;,&quot;fill_effect&quot;:[],&quot;fill_mode&quot;:&quot;full&quot;,&quot;sacle_strategy&quot;:&quot;stretch&quot;}"/>
  <p:tag name="KSO_WM_ASSEMBLE_CHIP_INDEX" val="fec33d3772cd4c1c918c2ed9960dbcaf"/>
  <p:tag name="KSO_WM_SLIDE_BACKGROUND_TYPE" val="bottomTop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13.xml><?xml version="1.0" encoding="utf-8"?>
<p:tagLst xmlns:p="http://schemas.openxmlformats.org/presentationml/2006/main">
  <p:tag name="KSO_WM_UNIT_SUBTYPE" val="v"/>
  <p:tag name="KSO_WM_TEMPLATE_CATEGORY" val="chip"/>
  <p:tag name="KSO_WM_TEMPLATE_INDEX" val="20220976"/>
  <p:tag name="KSO_WM_UNIT_TYPE" val="i"/>
  <p:tag name="KSO_WM_UNIT_INDEX" val="1"/>
  <p:tag name="KSO_WM_UNIT_ID" val="chip20220976_6*i*1"/>
  <p:tag name="KSO_WM_BEAUTIFY_FLAG" val="#wm#"/>
  <p:tag name="KSO_WM_TAG_VERSION" val="1.0"/>
  <p:tag name="KSO_WM_CHIP_GROUPID" val="618ddf349d7b144ec989f16d"/>
  <p:tag name="KSO_WM_CHIP_XID" val="618e0a8a5268663be886272c"/>
  <p:tag name="KSO_WM_UNIT_DEC_AREA_ID" val="210b30472de0459c851f294778e0f8d6"/>
  <p:tag name="KSO_WM_CHIP_FILLAREA_FILL_RULE" val="{&quot;fill_align&quot;:&quot;cm&quot;,&quot;fill_effect&quot;:[],&quot;fill_mode&quot;:&quot;full&quot;,&quot;sacle_strategy&quot;:&quot;stretch&quot;}"/>
  <p:tag name="KSO_WM_UNIT_DEC_SUPPORTCHANGEPIC" val="0"/>
  <p:tag name="KSO_WM_UNIT_DEC_CHANGEPICRESERVED" val="1"/>
  <p:tag name="KSO_WM_ASSEMBLE_CHIP_INDEX" val="e3658d4bc30046209e6ca1cfb2bb9bc7"/>
</p:tagLst>
</file>

<file path=ppt/tags/tag13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SUBTYPE" val="t"/>
  <p:tag name="KSO_WM_UNIT_TYPE" val="i"/>
  <p:tag name="KSO_WM_UNIT_INDEX" val="1"/>
  <p:tag name="KSO_WM_UNIT_ID" val="chip20203882_3*i*1"/>
  <p:tag name="KSO_WM_TEMPLATE_CATEGORY" val="chip"/>
  <p:tag name="KSO_WM_TEMPLATE_INDEX" val="20203882"/>
  <p:tag name="KSO_WM_UNIT_LAYERLEVEL" val="1"/>
  <p:tag name="KSO_WM_TAG_VERSION" val="1.0"/>
  <p:tag name="KSO_WM_BEAUTIFY_FLAG" val="#wm#"/>
  <p:tag name="KSO_WM_CHIP_GROUPID" val="5f8961c8a61ec3b5528498be"/>
  <p:tag name="KSO_WM_CHIP_XID" val="5f8961c8a61ec3b5528498c1"/>
  <p:tag name="KSO_WM_UNIT_DEC_AREA_ID" val="1190509d3692456e8bfd6910b4c0c53c"/>
  <p:tag name="KSO_WM_UNIT_DECORATE_INFO" val=""/>
  <p:tag name="KSO_WM_UNIT_SM_LIMIT_TYPE" val=""/>
  <p:tag name="KSO_WM_CHIP_FILLAREA_FILL_RULE" val="{&quot;fill_align&quot;:&quot;cm&quot;,&quot;fill_effect&quot;:[],&quot;fill_mode&quot;:&quot;full&quot;,&quot;sacle_strategy&quot;:&quot;stretch&quot;}"/>
  <p:tag name="KSO_WM_ASSEMBLE_CHIP_INDEX" val="f3318310605b403395ed974b65d40ca2"/>
  <p:tag name="KSO_WM_SLIDE_BACKGROUND_TYPE" val="bottomTop"/>
</p:tagLst>
</file>

<file path=ppt/tags/tag13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SUBTYPE" val="t"/>
  <p:tag name="KSO_WM_UNIT_TYPE" val="i"/>
  <p:tag name="KSO_WM_UNIT_INDEX" val="1"/>
  <p:tag name="KSO_WM_UNIT_ID" val="chip20203882_4*i*1"/>
  <p:tag name="KSO_WM_TEMPLATE_CATEGORY" val="chip"/>
  <p:tag name="KSO_WM_TEMPLATE_INDEX" val="20203882"/>
  <p:tag name="KSO_WM_UNIT_LAYERLEVEL" val="1"/>
  <p:tag name="KSO_WM_TAG_VERSION" val="1.0"/>
  <p:tag name="KSO_WM_BEAUTIFY_FLAG" val="#wm#"/>
  <p:tag name="KSO_WM_CHIP_GROUPID" val="5f8961c8a61ec3b5528498be"/>
  <p:tag name="KSO_WM_CHIP_XID" val="5f8961c8a61ec3b5528498c2"/>
  <p:tag name="KSO_WM_UNIT_DEC_AREA_ID" val="637e3f9613194eb1801f11a968829175"/>
  <p:tag name="KSO_WM_UNIT_DECORATE_INFO" val=""/>
  <p:tag name="KSO_WM_UNIT_SM_LIMIT_TYPE" val=""/>
  <p:tag name="KSO_WM_CHIP_FILLAREA_FILL_RULE" val="{&quot;fill_align&quot;:&quot;cm&quot;,&quot;fill_effect&quot;:[],&quot;fill_mode&quot;:&quot;full&quot;,&quot;sacle_strategy&quot;:&quot;stretch&quot;}"/>
  <p:tag name="KSO_WM_ASSEMBLE_CHIP_INDEX" val="63c9eead76f94d1f9e1cd2c2fd5ec75d"/>
  <p:tag name="KSO_WM_SLIDE_BACKGROUND_TYPE" val="bottomTop"/>
</p:tagLst>
</file>

<file path=ppt/tags/tag132.xml><?xml version="1.0" encoding="utf-8"?>
<p:tagLst xmlns:p="http://schemas.openxmlformats.org/presentationml/2006/main">
  <p:tag name="KSO_WM_SLIDE_BACKGROUND_TYPE" val="bottomTop"/>
</p:tagLst>
</file>

<file path=ppt/tags/tag133.xml><?xml version="1.0" encoding="utf-8"?>
<p:tagLst xmlns:p="http://schemas.openxmlformats.org/presentationml/2006/main">
  <p:tag name="KSO_WM_SLIDE_BACKGROUND_TYPE" val="bottomTop"/>
</p:tagLst>
</file>

<file path=ppt/tags/tag134.xml><?xml version="1.0" encoding="utf-8"?>
<p:tagLst xmlns:p="http://schemas.openxmlformats.org/presentationml/2006/main">
  <p:tag name="KSO_WM_SLIDE_BACKGROUND_TYPE" val="bottomTop"/>
</p:tagLst>
</file>

<file path=ppt/tags/tag135.xml><?xml version="1.0" encoding="utf-8"?>
<p:tagLst xmlns:p="http://schemas.openxmlformats.org/presentationml/2006/main">
  <p:tag name="KSO_WM_SLIDE_BACKGROUND_TYPE" val="bottomTop"/>
</p:tagLst>
</file>

<file path=ppt/tags/tag136.xml><?xml version="1.0" encoding="utf-8"?>
<p:tagLst xmlns:p="http://schemas.openxmlformats.org/presentationml/2006/main">
  <p:tag name="KSO_WM_SLIDE_BACKGROUND_TYPE" val="bottomTop"/>
</p:tagLst>
</file>

<file path=ppt/tags/tag137.xml><?xml version="1.0" encoding="utf-8"?>
<p:tagLst xmlns:p="http://schemas.openxmlformats.org/presentationml/2006/main">
  <p:tag name="KSO_WM_SLIDE_BACKGROUND_TYPE" val="bottomTop"/>
</p:tagLst>
</file>

<file path=ppt/tags/tag13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SUBTYPE" val="h"/>
  <p:tag name="KSO_WM_UNIT_TYPE" val="i"/>
  <p:tag name="KSO_WM_UNIT_INDEX" val="1"/>
  <p:tag name="KSO_WM_UNIT_ID" val="chip20203882_5*i*1"/>
  <p:tag name="KSO_WM_TEMPLATE_CATEGORY" val="chip"/>
  <p:tag name="KSO_WM_TEMPLATE_INDEX" val="20203882"/>
  <p:tag name="KSO_WM_UNIT_LAYERLEVEL" val="1"/>
  <p:tag name="KSO_WM_TAG_VERSION" val="1.0"/>
  <p:tag name="KSO_WM_BEAUTIFY_FLAG" val="#wm#"/>
  <p:tag name="KSO_WM_CHIP_GROUPID" val="5f8961c8a61ec3b5528498be"/>
  <p:tag name="KSO_WM_CHIP_XID" val="5f8961c8a61ec3b5528498c3"/>
  <p:tag name="KSO_WM_UNIT_DEC_AREA_ID" val="511542f9adde408da10b82a286c429e4"/>
  <p:tag name="KSO_WM_UNIT_DECORATE_INFO" val=""/>
  <p:tag name="KSO_WM_UNIT_SM_LIMIT_TYPE" val=""/>
  <p:tag name="KSO_WM_CHIP_FILLAREA_FILL_RULE" val="{&quot;fill_align&quot;:&quot;cm&quot;,&quot;fill_effect&quot;:[],&quot;fill_mode&quot;:&quot;full&quot;,&quot;sacle_strategy&quot;:&quot;stretch&quot;}"/>
  <p:tag name="KSO_WM_ASSEMBLE_CHIP_INDEX" val="b39188acdc3149d5b55e9ba2d4383bb9"/>
  <p:tag name="KSO_WM_SLIDE_BACKGROUND_TYPE" val="navigation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13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SUBTYPE" val="t"/>
  <p:tag name="KSO_WM_UNIT_TYPE" val="i"/>
  <p:tag name="KSO_WM_UNIT_INDEX" val="1"/>
  <p:tag name="KSO_WM_UNIT_ID" val="chip20203882_3*i*1"/>
  <p:tag name="KSO_WM_TEMPLATE_CATEGORY" val="chip"/>
  <p:tag name="KSO_WM_TEMPLATE_INDEX" val="20203882"/>
  <p:tag name="KSO_WM_UNIT_LAYERLEVEL" val="1"/>
  <p:tag name="KSO_WM_TAG_VERSION" val="1.0"/>
  <p:tag name="KSO_WM_BEAUTIFY_FLAG" val="#wm#"/>
  <p:tag name="KSO_WM_CHIP_GROUPID" val="5f8961c8a61ec3b5528498be"/>
  <p:tag name="KSO_WM_CHIP_XID" val="5f8961c8a61ec3b5528498c1"/>
  <p:tag name="KSO_WM_UNIT_DEC_AREA_ID" val="469a67464f10478cb38dd8467787d0b6"/>
  <p:tag name="KSO_WM_UNIT_DECORATE_INFO" val=""/>
  <p:tag name="KSO_WM_UNIT_SM_LIMIT_TYPE" val=""/>
  <p:tag name="KSO_WM_CHIP_FILLAREA_FILL_RULE" val="{&quot;fill_align&quot;:&quot;cm&quot;,&quot;fill_effect&quot;:[],&quot;fill_mode&quot;:&quot;full&quot;,&quot;sacle_strategy&quot;:&quot;stretch&quot;}"/>
  <p:tag name="KSO_WM_ASSEMBLE_CHIP_INDEX" val="05fe262f28b044599e88741589fe2dbe"/>
  <p:tag name="KSO_WM_SLIDE_BACKGROUND_TYPE" val="navigation"/>
</p:tagLst>
</file>

<file path=ppt/tags/tag14.xml><?xml version="1.0" encoding="utf-8"?>
<p:tagLst xmlns:p="http://schemas.openxmlformats.org/presentationml/2006/main">
  <p:tag name="KSO_WM_UNIT_DEFAULT_FONT" val="96;115;2"/>
  <p:tag name="KSO_WM_UNIT_BLOCK" val="0"/>
  <p:tag name="KSO_WM_UNIT_DEC_AREA_ID" val="3ed7c36fd18e47a3a4329426efd546df"/>
  <p:tag name="KSO_WM_UNIT_ISCONTENTSTITLE" val="0"/>
  <p:tag name="KSO_WM_UNIT_ISNUMDGMTITLE" val="0"/>
  <p:tag name="KSO_WM_UNIT_PRESET_TEXT" val="THANKS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custom20220976_1*a*1"/>
  <p:tag name="KSO_WM_TEMPLATE_CATEGORY" val="custom"/>
  <p:tag name="KSO_WM_TEMPLATE_INDEX" val="20220976"/>
  <p:tag name="KSO_WM_UNIT_LAYERLEVEL" val="1"/>
  <p:tag name="KSO_WM_TAG_VERSION" val="1.0"/>
  <p:tag name="KSO_WM_BEAUTIFY_FLAG" val="#wm#"/>
  <p:tag name="KSO_WM_UNIT_VALUE" val="7"/>
  <p:tag name="KSO_WM_CHIP_GROUPID" val="6167d2a06603f1460a45585d"/>
  <p:tag name="KSO_WM_CHIP_XID" val="6167d2a06603f1460a45585a"/>
  <p:tag name="KSO_WM_CHIP_FILLAREA_FILL_RULE" val="{&quot;fill_align&quot;:&quot;lm&quot;,&quot;fill_mode&quot;:&quot;adaptive&quot;,&quot;sacle_strategy&quot;:&quot;smart&quot;}"/>
  <p:tag name="KSO_WM_ASSEMBLE_CHIP_INDEX" val="5a39035896644801aabb055ec3d70f4c"/>
  <p:tag name="KSO_WM_TEMPLATE_ASSEMBLE_XID" val="61974b7d78bf544979703f82"/>
  <p:tag name="KSO_WM_TEMPLATE_ASSEMBLE_GROUPID" val="618ddf349d7b144ec989f16d"/>
</p:tagLst>
</file>

<file path=ppt/tags/tag14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SUBTYPE" val="t"/>
  <p:tag name="KSO_WM_UNIT_TYPE" val="i"/>
  <p:tag name="KSO_WM_UNIT_INDEX" val="1"/>
  <p:tag name="KSO_WM_UNIT_ID" val="chip20203882_4*i*1"/>
  <p:tag name="KSO_WM_TEMPLATE_CATEGORY" val="chip"/>
  <p:tag name="KSO_WM_TEMPLATE_INDEX" val="20203882"/>
  <p:tag name="KSO_WM_UNIT_LAYERLEVEL" val="1"/>
  <p:tag name="KSO_WM_TAG_VERSION" val="1.0"/>
  <p:tag name="KSO_WM_BEAUTIFY_FLAG" val="#wm#"/>
  <p:tag name="KSO_WM_CHIP_GROUPID" val="5f8961c8a61ec3b5528498be"/>
  <p:tag name="KSO_WM_CHIP_XID" val="5f8961c8a61ec3b5528498c2"/>
  <p:tag name="KSO_WM_UNIT_DEC_AREA_ID" val="f5983d346e3045fbb3fea652ee779510"/>
  <p:tag name="KSO_WM_UNIT_DECORATE_INFO" val=""/>
  <p:tag name="KSO_WM_UNIT_SM_LIMIT_TYPE" val=""/>
  <p:tag name="KSO_WM_CHIP_FILLAREA_FILL_RULE" val="{&quot;fill_align&quot;:&quot;cm&quot;,&quot;fill_effect&quot;:[],&quot;fill_mode&quot;:&quot;full&quot;,&quot;sacle_strategy&quot;:&quot;stretch&quot;}"/>
  <p:tag name="KSO_WM_ASSEMBLE_CHIP_INDEX" val="65b42ff21daf40ef96796b78e8a06e04"/>
  <p:tag name="KSO_WM_SLIDE_BACKGROUND_TYPE" val="navigation"/>
</p:tagLst>
</file>

<file path=ppt/tags/tag141.xml><?xml version="1.0" encoding="utf-8"?>
<p:tagLst xmlns:p="http://schemas.openxmlformats.org/presentationml/2006/main">
  <p:tag name="KSO_WM_SLIDE_BACKGROUND_TYPE" val="navigation"/>
</p:tagLst>
</file>

<file path=ppt/tags/tag142.xml><?xml version="1.0" encoding="utf-8"?>
<p:tagLst xmlns:p="http://schemas.openxmlformats.org/presentationml/2006/main">
  <p:tag name="KSO_WM_SLIDE_BACKGROUND_TYPE" val="navigation"/>
</p:tagLst>
</file>

<file path=ppt/tags/tag143.xml><?xml version="1.0" encoding="utf-8"?>
<p:tagLst xmlns:p="http://schemas.openxmlformats.org/presentationml/2006/main">
  <p:tag name="KSO_WM_SLIDE_BACKGROUND_TYPE" val="navigation"/>
</p:tagLst>
</file>

<file path=ppt/tags/tag144.xml><?xml version="1.0" encoding="utf-8"?>
<p:tagLst xmlns:p="http://schemas.openxmlformats.org/presentationml/2006/main">
  <p:tag name="KSO_WM_SLIDE_BACKGROUND_TYPE" val="navigation"/>
</p:tagLst>
</file>

<file path=ppt/tags/tag145.xml><?xml version="1.0" encoding="utf-8"?>
<p:tagLst xmlns:p="http://schemas.openxmlformats.org/presentationml/2006/main">
  <p:tag name="KSO_WM_SLIDE_BACKGROUND_TYPE" val="navigation"/>
</p:tagLst>
</file>

<file path=ppt/tags/tag146.xml><?xml version="1.0" encoding="utf-8"?>
<p:tagLst xmlns:p="http://schemas.openxmlformats.org/presentationml/2006/main">
  <p:tag name="KSO_WM_SLIDE_BACKGROUND_TYPE" val="navigation"/>
</p:tagLst>
</file>

<file path=ppt/tags/tag147.xml><?xml version="1.0" encoding="utf-8"?>
<p:tagLst xmlns:p="http://schemas.openxmlformats.org/presentationml/2006/main">
  <p:tag name="KSO_WM_SLIDE_BACKGROUND_TYPE" val="navigation"/>
</p:tagLst>
</file>

<file path=ppt/tags/tag148.xml><?xml version="1.0" encoding="utf-8"?>
<p:tagLst xmlns:p="http://schemas.openxmlformats.org/presentationml/2006/main">
  <p:tag name="KSO_WM_SLIDE_BACKGROUND_TYPE" val="navigation"/>
</p:tagLst>
</file>

<file path=ppt/tags/tag14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SUBTYPE" val="h"/>
  <p:tag name="KSO_WM_UNIT_TYPE" val="i"/>
  <p:tag name="KSO_WM_UNIT_INDEX" val="1"/>
  <p:tag name="KSO_WM_UNIT_ID" val="chip20203882_5*i*1"/>
  <p:tag name="KSO_WM_TEMPLATE_CATEGORY" val="chip"/>
  <p:tag name="KSO_WM_TEMPLATE_INDEX" val="20203882"/>
  <p:tag name="KSO_WM_UNIT_LAYERLEVEL" val="1"/>
  <p:tag name="KSO_WM_TAG_VERSION" val="1.0"/>
  <p:tag name="KSO_WM_BEAUTIFY_FLAG" val="#wm#"/>
  <p:tag name="KSO_WM_CHIP_GROUPID" val="5f8961c8a61ec3b5528498be"/>
  <p:tag name="KSO_WM_CHIP_XID" val="5f8961c8a61ec3b5528498c3"/>
  <p:tag name="KSO_WM_UNIT_DEC_AREA_ID" val="20e67c94cad8457294c472e847027700"/>
  <p:tag name="KSO_WM_UNIT_DECORATE_INFO" val=""/>
  <p:tag name="KSO_WM_UNIT_SM_LIMIT_TYPE" val=""/>
  <p:tag name="KSO_WM_CHIP_FILLAREA_FILL_RULE" val="{&quot;fill_align&quot;:&quot;cm&quot;,&quot;fill_effect&quot;:[],&quot;fill_mode&quot;:&quot;full&quot;,&quot;sacle_strategy&quot;:&quot;stretch&quot;}"/>
  <p:tag name="KSO_WM_ASSEMBLE_CHIP_INDEX" val="51f744817b4445999c2e6368fb2794d3"/>
  <p:tag name="KSO_WM_SLIDE_BACKGROUND_TYPE" val="belt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15.xml><?xml version="1.0" encoding="utf-8"?>
<p:tagLst xmlns:p="http://schemas.openxmlformats.org/presentationml/2006/main">
  <p:tag name="KSO_WM_UNIT_DEFAULT_FONT" val="24;32;2"/>
  <p:tag name="KSO_WM_UNIT_BLOCK" val="0"/>
  <p:tag name="KSO_WM_UNIT_DEC_AREA_ID" val="d56b4ff2f35f4bfc992f38a31030da29"/>
  <p:tag name="KSO_WM_UNIT_ISCONTENTSTITLE" val="0"/>
  <p:tag name="KSO_WM_UNIT_ISNUMDGMTITLE" val="0"/>
  <p:tag name="KSO_WM_UNIT_PRESET_TEXT" val="添加副标题"/>
  <p:tag name="KSO_WM_UNIT_NOCLEAR" val="0"/>
  <p:tag name="KSO_WM_UNIT_VALUE" val="6"/>
  <p:tag name="KSO_WM_UNIT_HIGHLIGHT" val="0"/>
  <p:tag name="KSO_WM_UNIT_COMPATIBLE" val="0"/>
  <p:tag name="KSO_WM_UNIT_DIAGRAM_ISNUMVISUAL" val="0"/>
  <p:tag name="KSO_WM_UNIT_DIAGRAM_ISREFERUNIT" val="0"/>
  <p:tag name="KSO_WM_UNIT_TYPE" val="b"/>
  <p:tag name="KSO_WM_UNIT_INDEX" val="1"/>
  <p:tag name="KSO_WM_UNIT_ID" val="custom20220976_1*b*1"/>
  <p:tag name="KSO_WM_TEMPLATE_CATEGORY" val="custom"/>
  <p:tag name="KSO_WM_TEMPLATE_INDEX" val="20220976"/>
  <p:tag name="KSO_WM_UNIT_LAYERLEVEL" val="1"/>
  <p:tag name="KSO_WM_TAG_VERSION" val="1.0"/>
  <p:tag name="KSO_WM_BEAUTIFY_FLAG" val="#wm#"/>
  <p:tag name="KSO_WM_CHIP_GROUPID" val="6167d2a06603f1460a45585d"/>
  <p:tag name="KSO_WM_CHIP_XID" val="6167d2a06603f1460a45585a"/>
  <p:tag name="KSO_WM_CHIP_FILLAREA_FILL_RULE" val="{&quot;fill_align&quot;:&quot;lm&quot;,&quot;fill_mode&quot;:&quot;adaptive&quot;,&quot;sacle_strategy&quot;:&quot;smart&quot;}"/>
  <p:tag name="KSO_WM_ASSEMBLE_CHIP_INDEX" val="5a39035896644801aabb055ec3d70f4c"/>
  <p:tag name="KSO_WM_UNIT_TEXT_FILL_FORE_SCHEMECOLOR_INDEX_BRIGHTNESS" val="0.15"/>
  <p:tag name="KSO_WM_UNIT_TEXT_FILL_FORE_SCHEMECOLOR_INDEX" val="13"/>
  <p:tag name="KSO_WM_UNIT_TEXT_FILL_TYPE" val="1"/>
  <p:tag name="KSO_WM_TEMPLATE_ASSEMBLE_XID" val="61974b7d78bf544979703f82"/>
  <p:tag name="KSO_WM_TEMPLATE_ASSEMBLE_GROUPID" val="618ddf349d7b144ec989f16d"/>
</p:tagLst>
</file>

<file path=ppt/tags/tag15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SUBTYPE" val="t"/>
  <p:tag name="KSO_WM_UNIT_TYPE" val="i"/>
  <p:tag name="KSO_WM_UNIT_INDEX" val="1"/>
  <p:tag name="KSO_WM_UNIT_ID" val="chip20203882_3*i*1"/>
  <p:tag name="KSO_WM_TEMPLATE_CATEGORY" val="chip"/>
  <p:tag name="KSO_WM_TEMPLATE_INDEX" val="20203882"/>
  <p:tag name="KSO_WM_UNIT_LAYERLEVEL" val="1"/>
  <p:tag name="KSO_WM_TAG_VERSION" val="1.0"/>
  <p:tag name="KSO_WM_BEAUTIFY_FLAG" val="#wm#"/>
  <p:tag name="KSO_WM_CHIP_GROUPID" val="5f8961c8a61ec3b5528498be"/>
  <p:tag name="KSO_WM_CHIP_XID" val="5f8961c8a61ec3b5528498c1"/>
  <p:tag name="KSO_WM_UNIT_DEC_AREA_ID" val="86dfcc3018294da9a50ece5b3a208ebb"/>
  <p:tag name="KSO_WM_UNIT_DECORATE_INFO" val=""/>
  <p:tag name="KSO_WM_UNIT_SM_LIMIT_TYPE" val=""/>
  <p:tag name="KSO_WM_CHIP_FILLAREA_FILL_RULE" val="{&quot;fill_align&quot;:&quot;cm&quot;,&quot;fill_effect&quot;:[],&quot;fill_mode&quot;:&quot;full&quot;,&quot;sacle_strategy&quot;:&quot;stretch&quot;}"/>
  <p:tag name="KSO_WM_ASSEMBLE_CHIP_INDEX" val="7ef146e5f56e408fbb0e087c8ae33899"/>
  <p:tag name="KSO_WM_SLIDE_BACKGROUND_TYPE" val="belt"/>
</p:tagLst>
</file>

<file path=ppt/tags/tag15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SUBTYPE" val="t"/>
  <p:tag name="KSO_WM_UNIT_TYPE" val="i"/>
  <p:tag name="KSO_WM_UNIT_INDEX" val="1"/>
  <p:tag name="KSO_WM_UNIT_ID" val="chip20203882_4*i*1"/>
  <p:tag name="KSO_WM_TEMPLATE_CATEGORY" val="chip"/>
  <p:tag name="KSO_WM_TEMPLATE_INDEX" val="20203882"/>
  <p:tag name="KSO_WM_UNIT_LAYERLEVEL" val="1"/>
  <p:tag name="KSO_WM_TAG_VERSION" val="1.0"/>
  <p:tag name="KSO_WM_BEAUTIFY_FLAG" val="#wm#"/>
  <p:tag name="KSO_WM_CHIP_GROUPID" val="5f8961c8a61ec3b5528498be"/>
  <p:tag name="KSO_WM_CHIP_XID" val="5f8961c8a61ec3b5528498c2"/>
  <p:tag name="KSO_WM_UNIT_DEC_AREA_ID" val="9eb9179a6e354549b2995d0183a9085f"/>
  <p:tag name="KSO_WM_UNIT_DECORATE_INFO" val=""/>
  <p:tag name="KSO_WM_UNIT_SM_LIMIT_TYPE" val=""/>
  <p:tag name="KSO_WM_CHIP_FILLAREA_FILL_RULE" val="{&quot;fill_align&quot;:&quot;cm&quot;,&quot;fill_effect&quot;:[],&quot;fill_mode&quot;:&quot;full&quot;,&quot;sacle_strategy&quot;:&quot;stretch&quot;}"/>
  <p:tag name="KSO_WM_ASSEMBLE_CHIP_INDEX" val="f105ce374fbd44a4bfe67df8349f382b"/>
  <p:tag name="KSO_WM_SLIDE_BACKGROUND_TYPE" val="belt"/>
</p:tagLst>
</file>

<file path=ppt/tags/tag152.xml><?xml version="1.0" encoding="utf-8"?>
<p:tagLst xmlns:p="http://schemas.openxmlformats.org/presentationml/2006/main">
  <p:tag name="KSO_WM_SLIDE_BACKGROUND_TYPE" val="belt"/>
</p:tagLst>
</file>

<file path=ppt/tags/tag153.xml><?xml version="1.0" encoding="utf-8"?>
<p:tagLst xmlns:p="http://schemas.openxmlformats.org/presentationml/2006/main">
  <p:tag name="KSO_WM_SLIDE_BACKGROUND_TYPE" val="belt"/>
</p:tagLst>
</file>

<file path=ppt/tags/tag154.xml><?xml version="1.0" encoding="utf-8"?>
<p:tagLst xmlns:p="http://schemas.openxmlformats.org/presentationml/2006/main">
  <p:tag name="KSO_WM_SLIDE_BACKGROUND_TYPE" val="belt"/>
</p:tagLst>
</file>

<file path=ppt/tags/tag155.xml><?xml version="1.0" encoding="utf-8"?>
<p:tagLst xmlns:p="http://schemas.openxmlformats.org/presentationml/2006/main">
  <p:tag name="KSO_WM_SLIDE_BACKGROUND_TYPE" val="belt"/>
</p:tagLst>
</file>

<file path=ppt/tags/tag156.xml><?xml version="1.0" encoding="utf-8"?>
<p:tagLst xmlns:p="http://schemas.openxmlformats.org/presentationml/2006/main">
  <p:tag name="KSO_WM_SLIDE_BACKGROUND_TYPE" val="belt"/>
</p:tagLst>
</file>

<file path=ppt/tags/tag157.xml><?xml version="1.0" encoding="utf-8"?>
<p:tagLst xmlns:p="http://schemas.openxmlformats.org/presentationml/2006/main">
  <p:tag name="KSO_WM_TEMPLATE_CATEGORY" val="custom"/>
  <p:tag name="KSO_WM_TEMPLATE_INDEX" val="20203882"/>
</p:tagLst>
</file>

<file path=ppt/tags/tag158.xml><?xml version="1.0" encoding="utf-8"?>
<p:tagLst xmlns:p="http://schemas.openxmlformats.org/presentationml/2006/main">
  <p:tag name="KSO_WM_TEMPLATE_CATEGORY" val="custom"/>
  <p:tag name="KSO_WM_TEMPLATE_INDEX" val="20203882"/>
</p:tagLst>
</file>

<file path=ppt/tags/tag159.xml><?xml version="1.0" encoding="utf-8"?>
<p:tagLst xmlns:p="http://schemas.openxmlformats.org/presentationml/2006/main">
  <p:tag name="KSO_WM_BEAUTIFY_FLAG" val="#wm#"/>
  <p:tag name="KSO_WM_TAG_VERSION" val="1.0"/>
  <p:tag name="KSO_WM_TEMPLATE_CATEGORY" val="custom"/>
  <p:tag name="KSO_WM_TEMPLATE_INDEX" val="20203882"/>
</p:tagLst>
</file>

<file path=ppt/tags/tag16.xml><?xml version="1.0" encoding="utf-8"?>
<p:tagLst xmlns:p="http://schemas.openxmlformats.org/presentationml/2006/main">
  <p:tag name="KSO_WM_UNIT_SUBTYPE" val="v"/>
  <p:tag name="KSO_WM_TEMPLATE_CATEGORY" val="chip"/>
  <p:tag name="KSO_WM_TEMPLATE_INDEX" val="20220976"/>
  <p:tag name="KSO_WM_UNIT_TYPE" val="i"/>
  <p:tag name="KSO_WM_UNIT_INDEX" val="1"/>
  <p:tag name="KSO_WM_UNIT_ID" val="chip20220976_10*i*1"/>
  <p:tag name="KSO_WM_BEAUTIFY_FLAG" val="#wm#"/>
  <p:tag name="KSO_WM_TAG_VERSION" val="1.0"/>
  <p:tag name="KSO_WM_CHIP_GROUPID" val="618ddf349d7b144ec989f16d"/>
  <p:tag name="KSO_WM_CHIP_XID" val="618e0a8a5268663be886272e"/>
  <p:tag name="KSO_WM_UNIT_DEC_AREA_ID" val="d9eae15fe76b40e6984debcabf97c036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effect&quot;:[],&quot;fill_mode&quot;:&quot;full&quot;,&quot;sacle_strategy&quot;:&quot;stretch&quot;}"/>
  <p:tag name="KSO_WM_UNIT_DEC_SUPPORTCHANGEPIC" val="0"/>
  <p:tag name="KSO_WM_UNIT_DEC_CHANGEPICRESERVED" val="1"/>
  <p:tag name="KSO_WM_ASSEMBLE_CHIP_INDEX" val="a0294ecdd6df492db45eee51a79bb287"/>
  <p:tag name="KSO_WM_SLIDE_BACKGROUND_TYPE" val="general"/>
</p:tagLst>
</file>

<file path=ppt/tags/tag16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custom20203882_1*a*1"/>
  <p:tag name="KSO_WM_TEMPLATE_CATEGORY" val="custom"/>
  <p:tag name="KSO_WM_TEMPLATE_INDEX" val="20203882"/>
  <p:tag name="KSO_WM_UNIT_LAYERLEVEL" val="1"/>
  <p:tag name="KSO_WM_TAG_VERSION" val="1.0"/>
  <p:tag name="KSO_WM_BEAUTIFY_FLAG" val="#wm#"/>
  <p:tag name="KSO_WM_UNIT_ISCONTENTSTITLE" val="0"/>
  <p:tag name="KSO_WM_UNIT_NOCLEAR" val="0"/>
  <p:tag name="KSO_WM_UNIT_VALUE" val="16"/>
  <p:tag name="KSO_WM_UNIT_TYPE" val="a"/>
  <p:tag name="KSO_WM_UNIT_INDEX" val="1"/>
  <p:tag name="KSO_WM_UNIT_ISNUMDGMTITLE" val="0"/>
  <p:tag name="KSO_WM_UNIT_PRESET_TEXT" val="同心逐梦 不断超越"/>
  <p:tag name="KSO_WM_UNIT_BLOCK" val="0"/>
  <p:tag name="KSO_WM_UNIT_DEC_AREA_ID" val="eca69ea22220420589fee946220474ce"/>
  <p:tag name="KSO_WM_UNIT_DEFAULT_FONT" val="24;60;4"/>
  <p:tag name="KSO_WM_CHIP_GROUPID" val="5f2a1b2845e1f15ec24fe3f8"/>
  <p:tag name="KSO_WM_CHIP_XID" val="5f2a1b2845e1f15ec24fe3f9"/>
  <p:tag name="KSO_WM_CHIP_FILLAREA_FILL_RULE" val="{&quot;fill_align&quot;:&quot;cm&quot;,&quot;fill_mode&quot;:&quot;adaptive&quot;,&quot;sacle_strategy&quot;:&quot;smart&quot;}"/>
  <p:tag name="KSO_WM_ASSEMBLE_CHIP_INDEX" val="ba5f943728d7455bb3ca9d66c28153aa"/>
  <p:tag name="KSO_WM_UNIT_TEXT_FILL_FORE_SCHEMECOLOR_INDEX_BRIGHTNESS" val="0.15"/>
  <p:tag name="KSO_WM_UNIT_TEXT_FILL_FORE_SCHEMECOLOR_INDEX" val="13"/>
  <p:tag name="KSO_WM_UNIT_TEXT_FILL_TYPE" val="1"/>
</p:tagLst>
</file>

<file path=ppt/tags/tag16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custom20203882_1*b*1"/>
  <p:tag name="KSO_WM_TEMPLATE_CATEGORY" val="custom"/>
  <p:tag name="KSO_WM_TEMPLATE_INDEX" val="20203882"/>
  <p:tag name="KSO_WM_UNIT_LAYERLEVEL" val="1"/>
  <p:tag name="KSO_WM_TAG_VERSION" val="1.0"/>
  <p:tag name="KSO_WM_BEAUTIFY_FLAG" val="#wm#"/>
  <p:tag name="KSO_WM_UNIT_ISCONTENTSTITLE" val="0"/>
  <p:tag name="KSO_WM_UNIT_NOCLEAR" val="0"/>
  <p:tag name="KSO_WM_UNIT_VALUE" val="20"/>
  <p:tag name="KSO_WM_UNIT_TYPE" val="b"/>
  <p:tag name="KSO_WM_UNIT_INDEX" val="1"/>
  <p:tag name="KSO_WM_UNIT_ISNUMDGMTITLE" val="0"/>
  <p:tag name="KSO_WM_UNIT_PRESET_TEXT" val="单击此处添加文本具体内容"/>
  <p:tag name="KSO_WM_UNIT_BLOCK" val="0"/>
  <p:tag name="KSO_WM_UNIT_DEC_AREA_ID" val="ff0d5d12beae4a8fb61e59bc3e5444ad"/>
  <p:tag name="KSO_WM_UNIT_DEFAULT_FONT" val="18;24;2"/>
  <p:tag name="KSO_WM_CHIP_GROUPID" val="5f2a1b2845e1f15ec24fe3f8"/>
  <p:tag name="KSO_WM_CHIP_XID" val="5f2a1b2845e1f15ec24fe3f9"/>
  <p:tag name="KSO_WM_CHIP_FILLAREA_FILL_RULE" val="{&quot;fill_align&quot;:&quot;cm&quot;,&quot;fill_mode&quot;:&quot;adaptive&quot;,&quot;sacle_strategy&quot;:&quot;smart&quot;}"/>
  <p:tag name="KSO_WM_ASSEMBLE_CHIP_INDEX" val="ba5f943728d7455bb3ca9d66c28153aa"/>
  <p:tag name="KSO_WM_UNIT_TEXT_FILL_FORE_SCHEMECOLOR_INDEX_BRIGHTNESS" val="0.35"/>
  <p:tag name="KSO_WM_UNIT_TEXT_FILL_FORE_SCHEMECOLOR_INDEX" val="13"/>
  <p:tag name="KSO_WM_UNIT_TEXT_FILL_TYPE" val="1"/>
</p:tagLst>
</file>

<file path=ppt/tags/tag162.xml><?xml version="1.0" encoding="utf-8"?>
<p:tagLst xmlns:p="http://schemas.openxmlformats.org/presentationml/2006/main">
  <p:tag name="ISLIDE.THEME" val="https://www.islide.cc;"/>
  <p:tag name="KSO_WM_SLIDE_ID" val="custom20203882_1"/>
  <p:tag name="KSO_WM_TEMPLATE_SUBCATEGORY" val="21"/>
  <p:tag name="KSO_WM_TEMPLATE_MASTER_TYPE" val="1"/>
  <p:tag name="KSO_WM_TEMPLATE_COLOR_TYPE" val="1"/>
  <p:tag name="KSO_WM_SLIDE_ITEM_CNT" val="0"/>
  <p:tag name="KSO_WM_SLIDE_INDEX" val="1"/>
  <p:tag name="KSO_WM_TAG_VERSION" val="1.0"/>
  <p:tag name="KSO_WM_BEAUTIFY_FLAG" val="#wm#"/>
  <p:tag name="KSO_WM_TEMPLATE_CATEGORY" val="custom"/>
  <p:tag name="KSO_WM_TEMPLATE_INDEX" val="20203882"/>
  <p:tag name="KSO_WM_CHIP_INFOS" val="{&quot;layout_type&quot;:&quot;formiddle3&quot;,&quot;slide_type&quot;:[&quot;title&quot;],&quot;aspect_ratio&quot;:&quot;16:9&quot;}"/>
  <p:tag name="KSO_WM_CHIP_FILLPROP" val="[[{&quot;fill_id&quot;:&quot;0fc8cb0b5be24332a6c5a6db9e174d8a&quot;,&quot;fill_align&quot;:&quot;cm&quot;,&quot;text_align&quot;:&quot;cm&quot;,&quot;text_direction&quot;:&quot;horizontal&quot;,&quot;chip_types&quot;:[&quot;text&quot;,&quot;header&quot;]}]]"/>
  <p:tag name="KSO_WM_CHIP_DECFILLPROP" val="[]"/>
  <p:tag name="KSO_WM_SLIDE_LAYOUT" val="a_b"/>
  <p:tag name="KSO_WM_SLIDE_LAYOUT_CNT" val="1_1"/>
  <p:tag name="KSO_WM_CHIP_XID" val="5ebe041a0ac41c4a0a52557e"/>
  <p:tag name="KSO_WM_CHIP_GROUPID" val="5ebf6661ddc3daf3fef3f760"/>
  <p:tag name="KSO_WM_SLIDE_BK_DARK_LIGHT" val="2"/>
  <p:tag name="KSO_WM_SLIDE_BACKGROUND_TYPE" val="general"/>
  <p:tag name="KSO_WM_SLIDE_SUPPORT_FEATURE_TYPE" val="0"/>
  <p:tag name="KSO_WM_SLIDE_TYPE" val="title"/>
  <p:tag name="KSO_WM_TEMPLATE_MASTER_THUMB_INDEX" val="13"/>
  <p:tag name="KSO_WM_CHIP_COLORING" val="3"/>
  <p:tag name="KSO_WM_SLIDE_SUBTYPE" val="pureTxt"/>
  <p:tag name="KSO_WM_TEMPLATE_ASSEMBLE_XID" val="5f978b66e01a7e847d6e487a"/>
  <p:tag name="KSO_WM_TEMPLATE_ASSEMBLE_GROUPID" val="5f8961c8a61ec3b5528498be"/>
  <p:tag name="KSO_WM_TEMPLATE_THUMBS_INDEX" val="1、5、6、7、8、49"/>
  <p:tag name="KSO_WM_SLIDE_SIZE" val="700*380"/>
  <p:tag name="KSO_WM_SLIDE_POSITION" val="130*79"/>
  <p:tag name="KSO_WM_SLIDE_LAYOUT_INFO" val="{&quot;direction&quot;:1,&quot;id&quot;:&quot;2020-10-27T10:52:35&quot;,&quot;maxSize&quot;:{&quot;size1&quot;:65.04964059178407},&quot;minSize&quot;:{&quot;size1&quot;:60.74964059178407},&quot;normalSize&quot;:{&quot;size1&quot;:62.949640591784075},&quot;subLayout&quot;:[{&quot;id&quot;:&quot;2020-10-27T10:52:35&quot;,&quot;margin&quot;:{&quot;bottom&quot;:6.960198402404785,&quot;left&quot;:4.589639186859131,&quot;right&quot;:1.3128677606582642,&quot;top&quot;:6.960193157196045},&quot;type&quot;:0},{&quot;id&quot;:&quot;2020-10-27T10:52:35&quot;,&quot;maxSize&quot;:{&quot;size1&quot;:58.04295247395832},&quot;minSize&quot;:{&quot;size1&quot;:49.84295247395833},&quot;normalSize&quot;:{&quot;size1&quot;:49.84295247395834},&quot;subLayout&quot;:[{&quot;id&quot;:&quot;2020-10-27T10:52:35&quot;,&quot;margin&quot;:{&quot;bottom&quot;:0.3022167682647705,&quot;left&quot;:0.7724403738975525,&quot;right&quot;:4.582406520843506,&quot;top&quot;:6.960193157196045},&quot;type&quot;:0},{&quot;id&quot;:&quot;2020-10-27T10:52:35&quot;,&quot;margin&quot;:{&quot;bottom&quot;:6.960198402404785,&quot;left&quot;:1.2898931503295898,&quot;right&quot;:4.582406520843506,&quot;top&quot;:0.4232804477214813},&quot;type&quot;:0}],&quot;type&quot;:0}],&quot;type&quot;:0}"/>
</p:tagLst>
</file>

<file path=ppt/tags/tag163.xml><?xml version="1.0" encoding="utf-8"?>
<p:tagLst xmlns:p="http://schemas.openxmlformats.org/presentationml/2006/main">
  <p:tag name="KSO_WM_TAG_VERSION" val="1.0"/>
  <p:tag name="KSO_WM_BEAUTIFY_FLAG" val="#wm#"/>
  <p:tag name="KSO_WM_TEMPLATE_CATEGORY" val="diagram"/>
  <p:tag name="KSO_WM_TEMPLATE_INDEX" val="20170745"/>
  <p:tag name="KSO_WM_UNIT_TYPE" val="l_h_i"/>
  <p:tag name="KSO_WM_UNIT_INDEX" val="1_1_1"/>
  <p:tag name="KSO_WM_UNIT_ID" val="diagram20170745_3*l_h_i*1_1_1"/>
  <p:tag name="KSO_WM_UNIT_LAYERLEVEL" val="1_1_1"/>
  <p:tag name="KSO_WM_DIAGRAM_GROUP_CODE" val="l1-1"/>
  <p:tag name="KSO_WM_UNIT_LINE_FORE_SCHEMECOLOR_INDEX" val="8"/>
  <p:tag name="KSO_WM_UNIT_LINE_FILL_TYPE" val="2"/>
  <p:tag name="KSO_WM_UNIT_TEXT_FILL_FORE_SCHEMECOLOR_INDEX" val="8"/>
  <p:tag name="KSO_WM_UNIT_TEXT_FILL_TYPE" val="1"/>
  <p:tag name="KSO_WM_UNIT_USESOURCEFORMAT_APPLY" val="1"/>
</p:tagLst>
</file>

<file path=ppt/tags/tag164.xml><?xml version="1.0" encoding="utf-8"?>
<p:tagLst xmlns:p="http://schemas.openxmlformats.org/presentationml/2006/main">
  <p:tag name="KSO_WM_TAG_VERSION" val="1.0"/>
  <p:tag name="KSO_WM_BEAUTIFY_FLAG" val="#wm#"/>
  <p:tag name="KSO_WM_TEMPLATE_CATEGORY" val="diagram"/>
  <p:tag name="KSO_WM_TEMPLATE_INDEX" val="20170745"/>
  <p:tag name="KSO_WM_UNIT_TYPE" val="l_h_i"/>
  <p:tag name="KSO_WM_UNIT_INDEX" val="1_2_1"/>
  <p:tag name="KSO_WM_UNIT_ID" val="diagram20170745_3*l_h_i*1_2_1"/>
  <p:tag name="KSO_WM_UNIT_LAYERLEVEL" val="1_1_1"/>
  <p:tag name="KSO_WM_DIAGRAM_GROUP_CODE" val="l1-1"/>
  <p:tag name="KSO_WM_UNIT_LINE_FORE_SCHEMECOLOR_INDEX" val="13"/>
  <p:tag name="KSO_WM_UNIT_LINE_FILL_TYPE" val="2"/>
  <p:tag name="KSO_WM_UNIT_TEXT_FILL_FORE_SCHEMECOLOR_INDEX" val="13"/>
  <p:tag name="KSO_WM_UNIT_TEXT_FILL_TYPE" val="1"/>
  <p:tag name="KSO_WM_UNIT_USESOURCEFORMAT_APPLY" val="1"/>
</p:tagLst>
</file>

<file path=ppt/tags/tag165.xml><?xml version="1.0" encoding="utf-8"?>
<p:tagLst xmlns:p="http://schemas.openxmlformats.org/presentationml/2006/main">
  <p:tag name="KSO_WM_TAG_VERSION" val="1.0"/>
  <p:tag name="KSO_WM_BEAUTIFY_FLAG" val="#wm#"/>
  <p:tag name="KSO_WM_TEMPLATE_CATEGORY" val="diagram"/>
  <p:tag name="KSO_WM_TEMPLATE_INDEX" val="20170745"/>
  <p:tag name="KSO_WM_UNIT_TYPE" val="l_h_f"/>
  <p:tag name="KSO_WM_UNIT_INDEX" val="1_1_1"/>
  <p:tag name="KSO_WM_UNIT_LAYERLEVEL" val="1_1_1"/>
  <p:tag name="KSO_WM_UNIT_VALUE" val="22"/>
  <p:tag name="KSO_WM_UNIT_HIGHLIGHT" val="0"/>
  <p:tag name="KSO_WM_UNIT_COMPATIBLE" val="0"/>
  <p:tag name="KSO_WM_UNIT_CLEAR" val="0"/>
  <p:tag name="KSO_WM_UNIT_PRESET_TEXT_INDEX" val="3"/>
  <p:tag name="KSO_WM_UNIT_PRESET_TEXT_LEN" val="17"/>
  <p:tag name="KSO_WM_DIAGRAM_GROUP_CODE" val="l1-1"/>
  <p:tag name="KSO_WM_UNIT_ID" val="diagram20170745_3*l_h_f*1_1_1"/>
  <p:tag name="KSO_WM_UNIT_TEXT_FILL_FORE_SCHEMECOLOR_INDEX" val="13"/>
  <p:tag name="KSO_WM_UNIT_TEXT_FILL_TYPE" val="1"/>
  <p:tag name="KSO_WM_UNIT_USESOURCEFORMAT_APPLY" val="1"/>
</p:tagLst>
</file>

<file path=ppt/tags/tag166.xml><?xml version="1.0" encoding="utf-8"?>
<p:tagLst xmlns:p="http://schemas.openxmlformats.org/presentationml/2006/main">
  <p:tag name="KSO_WM_TAG_VERSION" val="1.0"/>
  <p:tag name="KSO_WM_BEAUTIFY_FLAG" val="#wm#"/>
  <p:tag name="KSO_WM_TEMPLATE_CATEGORY" val="diagram"/>
  <p:tag name="KSO_WM_TEMPLATE_INDEX" val="20170745"/>
  <p:tag name="KSO_WM_UNIT_TYPE" val="l_h_f"/>
  <p:tag name="KSO_WM_UNIT_INDEX" val="1_2_1"/>
  <p:tag name="KSO_WM_UNIT_LAYERLEVEL" val="1_1_1"/>
  <p:tag name="KSO_WM_UNIT_VALUE" val="22"/>
  <p:tag name="KSO_WM_UNIT_HIGHLIGHT" val="0"/>
  <p:tag name="KSO_WM_UNIT_COMPATIBLE" val="0"/>
  <p:tag name="KSO_WM_UNIT_CLEAR" val="0"/>
  <p:tag name="KSO_WM_UNIT_PRESET_TEXT_INDEX" val="3"/>
  <p:tag name="KSO_WM_UNIT_PRESET_TEXT_LEN" val="17"/>
  <p:tag name="KSO_WM_DIAGRAM_GROUP_CODE" val="l1-1"/>
  <p:tag name="KSO_WM_UNIT_ID" val="diagram20170745_3*l_h_f*1_2_1"/>
  <p:tag name="KSO_WM_UNIT_TEXT_FILL_FORE_SCHEMECOLOR_INDEX" val="13"/>
  <p:tag name="KSO_WM_UNIT_TEXT_FILL_TYPE" val="1"/>
  <p:tag name="KSO_WM_UNIT_USESOURCEFORMAT_APPLY" val="1"/>
</p:tagLst>
</file>

<file path=ppt/tags/tag167.xml><?xml version="1.0" encoding="utf-8"?>
<p:tagLst xmlns:p="http://schemas.openxmlformats.org/presentationml/2006/main">
  <p:tag name="KSO_WM_TAG_VERSION" val="1.0"/>
  <p:tag name="KSO_WM_BEAUTIFY_FLAG" val="#wm#"/>
  <p:tag name="KSO_WM_TEMPLATE_CATEGORY" val="diagram"/>
  <p:tag name="KSO_WM_TEMPLATE_INDEX" val="20170745"/>
  <p:tag name="KSO_WM_UNIT_TYPE" val="l_h_i"/>
  <p:tag name="KSO_WM_UNIT_INDEX" val="1_3_1"/>
  <p:tag name="KSO_WM_UNIT_ID" val="diagram20170745_3*l_h_i*1_3_1"/>
  <p:tag name="KSO_WM_UNIT_LAYERLEVEL" val="1_1_1"/>
  <p:tag name="KSO_WM_DIAGRAM_GROUP_CODE" val="l1-1"/>
  <p:tag name="KSO_WM_UNIT_LINE_FORE_SCHEMECOLOR_INDEX" val="7"/>
  <p:tag name="KSO_WM_UNIT_LINE_FILL_TYPE" val="2"/>
  <p:tag name="KSO_WM_UNIT_TEXT_FILL_FORE_SCHEMECOLOR_INDEX" val="7"/>
  <p:tag name="KSO_WM_UNIT_TEXT_FILL_TYPE" val="1"/>
  <p:tag name="KSO_WM_UNIT_USESOURCEFORMAT_APPLY" val="1"/>
</p:tagLst>
</file>

<file path=ppt/tags/tag168.xml><?xml version="1.0" encoding="utf-8"?>
<p:tagLst xmlns:p="http://schemas.openxmlformats.org/presentationml/2006/main">
  <p:tag name="KSO_WM_TAG_VERSION" val="1.0"/>
  <p:tag name="KSO_WM_BEAUTIFY_FLAG" val="#wm#"/>
  <p:tag name="KSO_WM_TEMPLATE_CATEGORY" val="diagram"/>
  <p:tag name="KSO_WM_TEMPLATE_INDEX" val="20170745"/>
  <p:tag name="KSO_WM_UNIT_TYPE" val="l_h_i"/>
  <p:tag name="KSO_WM_UNIT_INDEX" val="1_4_1"/>
  <p:tag name="KSO_WM_UNIT_ID" val="diagram20170745_3*l_h_i*1_4_1"/>
  <p:tag name="KSO_WM_UNIT_LAYERLEVEL" val="1_1_1"/>
  <p:tag name="KSO_WM_DIAGRAM_GROUP_CODE" val="l1-1"/>
  <p:tag name="KSO_WM_UNIT_LINE_FORE_SCHEMECOLOR_INDEX" val="10"/>
  <p:tag name="KSO_WM_UNIT_LINE_FILL_TYPE" val="2"/>
  <p:tag name="KSO_WM_UNIT_TEXT_FILL_FORE_SCHEMECOLOR_INDEX" val="10"/>
  <p:tag name="KSO_WM_UNIT_TEXT_FILL_TYPE" val="1"/>
  <p:tag name="KSO_WM_UNIT_USESOURCEFORMAT_APPLY" val="1"/>
</p:tagLst>
</file>

<file path=ppt/tags/tag169.xml><?xml version="1.0" encoding="utf-8"?>
<p:tagLst xmlns:p="http://schemas.openxmlformats.org/presentationml/2006/main">
  <p:tag name="KSO_WM_TAG_VERSION" val="1.0"/>
  <p:tag name="KSO_WM_BEAUTIFY_FLAG" val="#wm#"/>
  <p:tag name="KSO_WM_TEMPLATE_CATEGORY" val="diagram"/>
  <p:tag name="KSO_WM_TEMPLATE_INDEX" val="20170745"/>
  <p:tag name="KSO_WM_UNIT_TYPE" val="l_h_f"/>
  <p:tag name="KSO_WM_UNIT_INDEX" val="1_3_1"/>
  <p:tag name="KSO_WM_UNIT_LAYERLEVEL" val="1_1_1"/>
  <p:tag name="KSO_WM_UNIT_VALUE" val="22"/>
  <p:tag name="KSO_WM_UNIT_HIGHLIGHT" val="0"/>
  <p:tag name="KSO_WM_UNIT_COMPATIBLE" val="0"/>
  <p:tag name="KSO_WM_UNIT_CLEAR" val="0"/>
  <p:tag name="KSO_WM_UNIT_PRESET_TEXT_INDEX" val="3"/>
  <p:tag name="KSO_WM_UNIT_PRESET_TEXT_LEN" val="17"/>
  <p:tag name="KSO_WM_DIAGRAM_GROUP_CODE" val="l1-1"/>
  <p:tag name="KSO_WM_UNIT_ID" val="diagram20170745_3*l_h_f*1_3_1"/>
  <p:tag name="KSO_WM_UNIT_TEXT_FILL_FORE_SCHEMECOLOR_INDEX" val="13"/>
  <p:tag name="KSO_WM_UNIT_TEXT_FILL_TYPE" val="1"/>
  <p:tag name="KSO_WM_UNIT_USESOURCEFORMAT_APPLY" val="1"/>
</p:tagLst>
</file>

<file path=ppt/tags/tag17.xml><?xml version="1.0" encoding="utf-8"?>
<p:tagLst xmlns:p="http://schemas.openxmlformats.org/presentationml/2006/main">
  <p:tag name="KSO_WM_SLIDE_BACKGROUND_TYPE" val="general"/>
</p:tagLst>
</file>

<file path=ppt/tags/tag170.xml><?xml version="1.0" encoding="utf-8"?>
<p:tagLst xmlns:p="http://schemas.openxmlformats.org/presentationml/2006/main">
  <p:tag name="KSO_WM_TAG_VERSION" val="1.0"/>
  <p:tag name="KSO_WM_BEAUTIFY_FLAG" val="#wm#"/>
  <p:tag name="KSO_WM_TEMPLATE_CATEGORY" val="diagram"/>
  <p:tag name="KSO_WM_TEMPLATE_INDEX" val="20170745"/>
  <p:tag name="KSO_WM_UNIT_TYPE" val="l_h_f"/>
  <p:tag name="KSO_WM_UNIT_INDEX" val="1_4_1"/>
  <p:tag name="KSO_WM_UNIT_LAYERLEVEL" val="1_1_1"/>
  <p:tag name="KSO_WM_UNIT_VALUE" val="22"/>
  <p:tag name="KSO_WM_UNIT_HIGHLIGHT" val="0"/>
  <p:tag name="KSO_WM_UNIT_COMPATIBLE" val="0"/>
  <p:tag name="KSO_WM_UNIT_CLEAR" val="0"/>
  <p:tag name="KSO_WM_UNIT_PRESET_TEXT_INDEX" val="3"/>
  <p:tag name="KSO_WM_UNIT_PRESET_TEXT_LEN" val="17"/>
  <p:tag name="KSO_WM_DIAGRAM_GROUP_CODE" val="l1-1"/>
  <p:tag name="KSO_WM_UNIT_ID" val="diagram20170745_3*l_h_f*1_4_1"/>
  <p:tag name="KSO_WM_UNIT_TEXT_FILL_FORE_SCHEMECOLOR_INDEX" val="10"/>
  <p:tag name="KSO_WM_UNIT_TEXT_FILL_TYPE" val="1"/>
  <p:tag name="KSO_WM_UNIT_USESOURCEFORMAT_APPLY" val="1"/>
</p:tagLst>
</file>

<file path=ppt/tags/tag171.xml><?xml version="1.0" encoding="utf-8"?>
<p:tagLst xmlns:p="http://schemas.openxmlformats.org/presentationml/2006/main">
  <p:tag name="KSO_WM_TAG_VERSION" val="1.0"/>
  <p:tag name="KSO_WM_BEAUTIFY_FLAG" val="#wm#"/>
  <p:tag name="KSO_WM_UNIT_TYPE" val="i"/>
  <p:tag name="KSO_WM_UNIT_ID" val="diagram20170745_3*i*8"/>
  <p:tag name="KSO_WM_TEMPLATE_CATEGORY" val="diagram"/>
  <p:tag name="KSO_WM_TEMPLATE_INDEX" val="20170745"/>
  <p:tag name="KSO_WM_UNIT_INDEX" val="8"/>
</p:tagLst>
</file>

<file path=ppt/tags/tag172.xml><?xml version="1.0" encoding="utf-8"?>
<p:tagLst xmlns:p="http://schemas.openxmlformats.org/presentationml/2006/main">
  <p:tag name="KSO_WM_TAG_VERSION" val="1.0"/>
  <p:tag name="KSO_WM_BEAUTIFY_FLAG" val="#wm#"/>
  <p:tag name="KSO_WM_UNIT_TYPE" val="i"/>
  <p:tag name="KSO_WM_UNIT_ID" val="diagram20170745_3*i*9"/>
  <p:tag name="KSO_WM_TEMPLATE_CATEGORY" val="diagram"/>
  <p:tag name="KSO_WM_TEMPLATE_INDEX" val="20170745"/>
  <p:tag name="KSO_WM_UNIT_INDEX" val="9"/>
</p:tagLst>
</file>

<file path=ppt/tags/tag173.xml><?xml version="1.0" encoding="utf-8"?>
<p:tagLst xmlns:p="http://schemas.openxmlformats.org/presentationml/2006/main">
  <p:tag name="KSO_WM_TAG_VERSION" val="1.0"/>
  <p:tag name="KSO_WM_BEAUTIFY_FLAG" val="#wm#"/>
  <p:tag name="KSO_WM_UNIT_TYPE" val="i"/>
  <p:tag name="KSO_WM_UNIT_ID" val="diagram20170745_3*i*10"/>
  <p:tag name="KSO_WM_TEMPLATE_CATEGORY" val="diagram"/>
  <p:tag name="KSO_WM_TEMPLATE_INDEX" val="20170745"/>
  <p:tag name="KSO_WM_UNIT_INDEX" val="10"/>
</p:tagLst>
</file>

<file path=ppt/tags/tag174.xml><?xml version="1.0" encoding="utf-8"?>
<p:tagLst xmlns:p="http://schemas.openxmlformats.org/presentationml/2006/main">
  <p:tag name="KSO_WM_TAG_VERSION" val="1.0"/>
  <p:tag name="KSO_WM_BEAUTIFY_FLAG" val="#wm#"/>
  <p:tag name="KSO_WM_TEMPLATE_CATEGORY" val="diagram"/>
  <p:tag name="KSO_WM_TEMPLATE_INDEX" val="20170745"/>
  <p:tag name="KSO_WM_UNIT_TYPE" val="a"/>
  <p:tag name="KSO_WM_UNIT_INDEX" val="1"/>
  <p:tag name="KSO_WM_UNIT_ID" val="diagram20170745_3*a*1"/>
  <p:tag name="KSO_WM_UNIT_LAYERLEVEL" val="1"/>
  <p:tag name="KSO_WM_UNIT_ISCONTENTSTITLE" val="1"/>
  <p:tag name="KSO_WM_UNIT_VALUE" val="4"/>
  <p:tag name="KSO_WM_UNIT_HIGHLIGHT" val="0"/>
  <p:tag name="KSO_WM_UNIT_COMPATIBLE" val="0"/>
  <p:tag name="KSO_WM_UNIT_CLEAR" val="0"/>
  <p:tag name="KSO_WM_UNIT_PRESET_TEXT" val="目录"/>
</p:tagLst>
</file>

<file path=ppt/tags/tag175.xml><?xml version="1.0" encoding="utf-8"?>
<p:tagLst xmlns:p="http://schemas.openxmlformats.org/presentationml/2006/main">
  <p:tag name="KSO_WM_TAG_VERSION" val="1.0"/>
  <p:tag name="KSO_WM_SLIDE_ITEM_CNT" val="4"/>
  <p:tag name="KSO_WM_SLIDE_LAYOUT" val="a_l"/>
  <p:tag name="KSO_WM_SLIDE_LAYOUT_CNT" val="1_1"/>
  <p:tag name="KSO_WM_SLIDE_TYPE" val="contents"/>
  <p:tag name="KSO_WM_BEAUTIFY_FLAG" val="#wm#"/>
  <p:tag name="KSO_WM_TEMPLATE_CATEGORY" val="diagram"/>
  <p:tag name="KSO_WM_TEMPLATE_INDEX" val="20170745"/>
  <p:tag name="KSO_WM_SLIDE_ID" val="diagram20170745_3"/>
  <p:tag name="KSO_WM_SLIDE_INDEX" val="3"/>
  <p:tag name="KSO_WM_DIAGRAM_GROUP_CODE" val="l1-1"/>
</p:tagLst>
</file>

<file path=ppt/tags/tag176.xml><?xml version="1.0" encoding="utf-8"?>
<p:tagLst xmlns:p="http://schemas.openxmlformats.org/presentationml/2006/main">
  <p:tag name="KSO_WM_UNIT_SUBTYPE" val="v"/>
  <p:tag name="KSO_WM_TEMPLATE_CATEGORY" val="chip"/>
  <p:tag name="KSO_WM_TEMPLATE_INDEX" val="20220976"/>
  <p:tag name="KSO_WM_UNIT_TYPE" val="i"/>
  <p:tag name="KSO_WM_UNIT_INDEX" val="1"/>
  <p:tag name="KSO_WM_UNIT_ID" val="chip20220976_10*i*1"/>
  <p:tag name="KSO_WM_BEAUTIFY_FLAG" val="#wm#"/>
  <p:tag name="KSO_WM_TAG_VERSION" val="1.0"/>
  <p:tag name="KSO_WM_CHIP_GROUPID" val="618ddf349d7b144ec989f16d"/>
  <p:tag name="KSO_WM_CHIP_XID" val="618e0a8a5268663be886272e"/>
  <p:tag name="KSO_WM_UNIT_DEC_AREA_ID" val="d9eae15fe76b40e6984debcabf97c036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effect&quot;:[],&quot;fill_mode&quot;:&quot;full&quot;,&quot;sacle_strategy&quot;:&quot;stretch&quot;}"/>
  <p:tag name="KSO_WM_UNIT_DEC_SUPPORTCHANGEPIC" val="0"/>
  <p:tag name="KSO_WM_UNIT_DEC_CHANGEPICRESERVED" val="1"/>
  <p:tag name="KSO_WM_ASSEMBLE_CHIP_INDEX" val="a0294ecdd6df492db45eee51a79bb287"/>
  <p:tag name="KSO_WM_SLIDE_BACKGROUND_TYPE" val="general"/>
  <p:tag name="WM_BEAUTIFY_SHAPE_IDENTITY" val="{5a3488ee-cefb-4460-b666-7f76f49cb631}"/>
</p:tagLst>
</file>

<file path=ppt/tags/tag177.xml><?xml version="1.0" encoding="utf-8"?>
<p:tagLst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78.xml><?xml version="1.0" encoding="utf-8"?>
<p:tagLst xmlns:p="http://schemas.openxmlformats.org/presentationml/2006/main">
  <p:tag name="KSO_WM_SLIDE_BK_DARK_LIGHT" val=""/>
  <p:tag name="KSO_WM_SLIDE_BACKGROUND_TYPE" val="general"/>
</p:tagLst>
</file>

<file path=ppt/tags/tag179.xml><?xml version="1.0" encoding="utf-8"?>
<p:tagLst xmlns:p="http://schemas.openxmlformats.org/presentationml/2006/main">
  <p:tag name="KSO_WM_UNIT_SUBTYPE" val="v"/>
  <p:tag name="KSO_WM_TEMPLATE_CATEGORY" val="chip"/>
  <p:tag name="KSO_WM_TEMPLATE_INDEX" val="20220976"/>
  <p:tag name="KSO_WM_UNIT_TYPE" val="i"/>
  <p:tag name="KSO_WM_UNIT_INDEX" val="1"/>
  <p:tag name="KSO_WM_UNIT_ID" val="chip20220976_10*i*1"/>
  <p:tag name="KSO_WM_BEAUTIFY_FLAG" val="#wm#"/>
  <p:tag name="KSO_WM_TAG_VERSION" val="1.0"/>
  <p:tag name="KSO_WM_CHIP_GROUPID" val="618ddf349d7b144ec989f16d"/>
  <p:tag name="KSO_WM_CHIP_XID" val="618e0a8a5268663be886272e"/>
  <p:tag name="KSO_WM_UNIT_DEC_AREA_ID" val="d9eae15fe76b40e6984debcabf97c036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effect&quot;:[],&quot;fill_mode&quot;:&quot;full&quot;,&quot;sacle_strategy&quot;:&quot;stretch&quot;}"/>
  <p:tag name="KSO_WM_UNIT_DEC_SUPPORTCHANGEPIC" val="0"/>
  <p:tag name="KSO_WM_UNIT_DEC_CHANGEPICRESERVED" val="1"/>
  <p:tag name="KSO_WM_ASSEMBLE_CHIP_INDEX" val="a0294ecdd6df492db45eee51a79bb287"/>
  <p:tag name="KSO_WM_SLIDE_BACKGROUND_TYPE" val="general"/>
  <p:tag name="WM_BEAUTIFY_SHAPE_IDENTITY" val="{80412748-3c5c-4d4b-895f-10d62e3283a0}"/>
</p:tagLst>
</file>

<file path=ppt/tags/tag18.xml><?xml version="1.0" encoding="utf-8"?>
<p:tagLst xmlns:p="http://schemas.openxmlformats.org/presentationml/2006/main">
  <p:tag name="KSO_WM_SLIDE_BACKGROUND_TYPE" val="general"/>
</p:tagLst>
</file>

<file path=ppt/tags/tag180.xml><?xml version="1.0" encoding="utf-8"?>
<p:tagLst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81.xml><?xml version="1.0" encoding="utf-8"?>
<p:tagLst xmlns:p="http://schemas.openxmlformats.org/presentationml/2006/main">
  <p:tag name="ISLIDE.THEME" val="https://www.islide.cc;"/>
  <p:tag name="KSO_WM_SLIDE_BK_DARK_LIGHT" val=""/>
  <p:tag name="KSO_WM_SLIDE_BACKGROUND_TYPE" val="general"/>
</p:tagLst>
</file>

<file path=ppt/tags/tag182.xml><?xml version="1.0" encoding="utf-8"?>
<p:tagLst xmlns:p="http://schemas.openxmlformats.org/presentationml/2006/main">
  <p:tag name="KSO_WM_UNIT_SUBTYPE" val="v"/>
  <p:tag name="KSO_WM_TEMPLATE_CATEGORY" val="chip"/>
  <p:tag name="KSO_WM_TEMPLATE_INDEX" val="20220976"/>
  <p:tag name="KSO_WM_UNIT_TYPE" val="i"/>
  <p:tag name="KSO_WM_UNIT_INDEX" val="1"/>
  <p:tag name="KSO_WM_UNIT_ID" val="chip20220976_10*i*1"/>
  <p:tag name="KSO_WM_BEAUTIFY_FLAG" val="#wm#"/>
  <p:tag name="KSO_WM_TAG_VERSION" val="1.0"/>
  <p:tag name="KSO_WM_CHIP_GROUPID" val="618ddf349d7b144ec989f16d"/>
  <p:tag name="KSO_WM_CHIP_XID" val="618e0a8a5268663be886272e"/>
  <p:tag name="KSO_WM_UNIT_DEC_AREA_ID" val="d9eae15fe76b40e6984debcabf97c036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effect&quot;:[],&quot;fill_mode&quot;:&quot;full&quot;,&quot;sacle_strategy&quot;:&quot;stretch&quot;}"/>
  <p:tag name="KSO_WM_UNIT_DEC_SUPPORTCHANGEPIC" val="0"/>
  <p:tag name="KSO_WM_UNIT_DEC_CHANGEPICRESERVED" val="1"/>
  <p:tag name="KSO_WM_ASSEMBLE_CHIP_INDEX" val="a0294ecdd6df492db45eee51a79bb287"/>
  <p:tag name="KSO_WM_SLIDE_BACKGROUND_TYPE" val="general"/>
  <p:tag name="WM_BEAUTIFY_SHAPE_IDENTITY" val="{dad05283-b345-42b4-ac88-2abc984a55c3}"/>
</p:tagLst>
</file>

<file path=ppt/tags/tag183.xml><?xml version="1.0" encoding="utf-8"?>
<p:tagLst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84.xml><?xml version="1.0" encoding="utf-8"?>
<p:tagLst xmlns:p="http://schemas.openxmlformats.org/presentationml/2006/main">
  <p:tag name="ISLIDE.THEME" val="https://www.islide.cc;"/>
  <p:tag name="KSO_WM_SLIDE_BK_DARK_LIGHT" val=""/>
  <p:tag name="KSO_WM_SLIDE_BACKGROUND_TYPE" val="general"/>
</p:tagLst>
</file>

<file path=ppt/tags/tag185.xml><?xml version="1.0" encoding="utf-8"?>
<p:tagLst xmlns:p="http://schemas.openxmlformats.org/presentationml/2006/main">
  <p:tag name="KSO_WM_UNIT_SUBTYPE" val="v"/>
  <p:tag name="KSO_WM_TEMPLATE_CATEGORY" val="chip"/>
  <p:tag name="KSO_WM_TEMPLATE_INDEX" val="20220976"/>
  <p:tag name="KSO_WM_UNIT_TYPE" val="i"/>
  <p:tag name="KSO_WM_UNIT_INDEX" val="1"/>
  <p:tag name="KSO_WM_UNIT_ID" val="chip20220976_10*i*1"/>
  <p:tag name="KSO_WM_BEAUTIFY_FLAG" val="#wm#"/>
  <p:tag name="KSO_WM_TAG_VERSION" val="1.0"/>
  <p:tag name="KSO_WM_CHIP_GROUPID" val="618ddf349d7b144ec989f16d"/>
  <p:tag name="KSO_WM_CHIP_XID" val="618e0a8a5268663be886272e"/>
  <p:tag name="KSO_WM_UNIT_DEC_AREA_ID" val="d9eae15fe76b40e6984debcabf97c036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effect&quot;:[],&quot;fill_mode&quot;:&quot;full&quot;,&quot;sacle_strategy&quot;:&quot;stretch&quot;}"/>
  <p:tag name="KSO_WM_UNIT_DEC_SUPPORTCHANGEPIC" val="0"/>
  <p:tag name="KSO_WM_UNIT_DEC_CHANGEPICRESERVED" val="1"/>
  <p:tag name="KSO_WM_ASSEMBLE_CHIP_INDEX" val="a0294ecdd6df492db45eee51a79bb287"/>
  <p:tag name="KSO_WM_SLIDE_BACKGROUND_TYPE" val="general"/>
  <p:tag name="WM_BEAUTIFY_SHAPE_IDENTITY" val="{1821a1a2-3443-4545-91ff-3753279fc0a1}"/>
</p:tagLst>
</file>

<file path=ppt/tags/tag186.xml><?xml version="1.0" encoding="utf-8"?>
<p:tagLst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87.xml><?xml version="1.0" encoding="utf-8"?>
<p:tagLst xmlns:p="http://schemas.openxmlformats.org/presentationml/2006/main">
  <p:tag name="ISLIDE.THEME" val="https://www.islide.cc;"/>
  <p:tag name="KSO_WM_SLIDE_BK_DARK_LIGHT" val=""/>
  <p:tag name="KSO_WM_SLIDE_BACKGROUND_TYPE" val="general"/>
</p:tagLst>
</file>

<file path=ppt/tags/tag188.xml><?xml version="1.0" encoding="utf-8"?>
<p:tagLst xmlns:p="http://schemas.openxmlformats.org/presentationml/2006/main">
  <p:tag name="KSO_WM_UNIT_SUBTYPE" val="v"/>
  <p:tag name="KSO_WM_TEMPLATE_CATEGORY" val="chip"/>
  <p:tag name="KSO_WM_TEMPLATE_INDEX" val="20220976"/>
  <p:tag name="KSO_WM_UNIT_TYPE" val="i"/>
  <p:tag name="KSO_WM_UNIT_INDEX" val="1"/>
  <p:tag name="KSO_WM_UNIT_ID" val="chip20220976_10*i*1"/>
  <p:tag name="KSO_WM_BEAUTIFY_FLAG" val="#wm#"/>
  <p:tag name="KSO_WM_TAG_VERSION" val="1.0"/>
  <p:tag name="KSO_WM_CHIP_GROUPID" val="618ddf349d7b144ec989f16d"/>
  <p:tag name="KSO_WM_CHIP_XID" val="618e0a8a5268663be886272e"/>
  <p:tag name="KSO_WM_UNIT_DEC_AREA_ID" val="d9eae15fe76b40e6984debcabf97c036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effect&quot;:[],&quot;fill_mode&quot;:&quot;full&quot;,&quot;sacle_strategy&quot;:&quot;stretch&quot;}"/>
  <p:tag name="KSO_WM_UNIT_DEC_SUPPORTCHANGEPIC" val="0"/>
  <p:tag name="KSO_WM_UNIT_DEC_CHANGEPICRESERVED" val="1"/>
  <p:tag name="KSO_WM_ASSEMBLE_CHIP_INDEX" val="a0294ecdd6df492db45eee51a79bb287"/>
  <p:tag name="KSO_WM_SLIDE_BACKGROUND_TYPE" val="general"/>
  <p:tag name="WM_BEAUTIFY_SHAPE_IDENTITY" val="{1821a1a2-3443-4545-91ff-3753279fc0a1}"/>
</p:tagLst>
</file>

<file path=ppt/tags/tag189.xml><?xml version="1.0" encoding="utf-8"?>
<p:tagLst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9.xml><?xml version="1.0" encoding="utf-8"?>
<p:tagLst xmlns:p="http://schemas.openxmlformats.org/presentationml/2006/main">
  <p:tag name="KSO_WM_SLIDE_BACKGROUND_TYPE" val="general"/>
</p:tagLst>
</file>

<file path=ppt/tags/tag190.xml><?xml version="1.0" encoding="utf-8"?>
<p:tagLst xmlns:p="http://schemas.openxmlformats.org/presentationml/2006/main">
  <p:tag name="ISLIDE.THEME" val="https://www.islide.cc;"/>
  <p:tag name="KSO_WM_SLIDE_BK_DARK_LIGHT" val=""/>
  <p:tag name="KSO_WM_SLIDE_BACKGROUND_TYPE" val="general"/>
</p:tagLst>
</file>

<file path=ppt/tags/tag191.xml><?xml version="1.0" encoding="utf-8"?>
<p:tagLst xmlns:p="http://schemas.openxmlformats.org/presentationml/2006/main">
  <p:tag name="KSO_WM_UNIT_SUBTYPE" val="v"/>
  <p:tag name="KSO_WM_TEMPLATE_CATEGORY" val="chip"/>
  <p:tag name="KSO_WM_TEMPLATE_INDEX" val="20220976"/>
  <p:tag name="KSO_WM_UNIT_TYPE" val="i"/>
  <p:tag name="KSO_WM_UNIT_INDEX" val="1"/>
  <p:tag name="KSO_WM_UNIT_ID" val="chip20220976_10*i*1"/>
  <p:tag name="KSO_WM_BEAUTIFY_FLAG" val="#wm#"/>
  <p:tag name="KSO_WM_TAG_VERSION" val="1.0"/>
  <p:tag name="KSO_WM_CHIP_GROUPID" val="618ddf349d7b144ec989f16d"/>
  <p:tag name="KSO_WM_CHIP_XID" val="618e0a8a5268663be886272e"/>
  <p:tag name="KSO_WM_UNIT_DEC_AREA_ID" val="d9eae15fe76b40e6984debcabf97c036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effect&quot;:[],&quot;fill_mode&quot;:&quot;full&quot;,&quot;sacle_strategy&quot;:&quot;stretch&quot;}"/>
  <p:tag name="KSO_WM_UNIT_DEC_SUPPORTCHANGEPIC" val="0"/>
  <p:tag name="KSO_WM_UNIT_DEC_CHANGEPICRESERVED" val="1"/>
  <p:tag name="KSO_WM_ASSEMBLE_CHIP_INDEX" val="a0294ecdd6df492db45eee51a79bb287"/>
  <p:tag name="KSO_WM_SLIDE_BACKGROUND_TYPE" val="general"/>
  <p:tag name="WM_BEAUTIFY_SHAPE_IDENTITY" val="{9f4805ab-6adf-40ad-b5cd-48240ab2e991}"/>
</p:tagLst>
</file>

<file path=ppt/tags/tag192.xml><?xml version="1.0" encoding="utf-8"?>
<p:tagLst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93.xml><?xml version="1.0" encoding="utf-8"?>
<p:tagLst xmlns:p="http://schemas.openxmlformats.org/presentationml/2006/main">
  <p:tag name="ISLIDE.THEME" val="https://www.islide.cc;"/>
  <p:tag name="KSO_WM_SLIDE_BK_DARK_LIGHT" val=""/>
  <p:tag name="KSO_WM_SLIDE_BACKGROUND_TYPE" val="general"/>
</p:tagLst>
</file>

<file path=ppt/tags/tag194.xml><?xml version="1.0" encoding="utf-8"?>
<p:tagLst xmlns:p="http://schemas.openxmlformats.org/presentationml/2006/main">
  <p:tag name="KSO_WM_UNIT_DEFAULT_FONT" val="96;115;2"/>
  <p:tag name="KSO_WM_UNIT_BLOCK" val="0"/>
  <p:tag name="KSO_WM_UNIT_DEC_AREA_ID" val="3ed7c36fd18e47a3a4329426efd546df"/>
  <p:tag name="KSO_WM_UNIT_ISCONTENTSTITLE" val="0"/>
  <p:tag name="KSO_WM_UNIT_ISNUMDGMTITLE" val="0"/>
  <p:tag name="KSO_WM_UNIT_PRESET_TEXT" val="THANKS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custom20220976_23*a*1"/>
  <p:tag name="KSO_WM_TEMPLATE_CATEGORY" val="custom"/>
  <p:tag name="KSO_WM_TEMPLATE_INDEX" val="20220976"/>
  <p:tag name="KSO_WM_UNIT_LAYERLEVEL" val="1"/>
  <p:tag name="KSO_WM_TAG_VERSION" val="1.0"/>
  <p:tag name="KSO_WM_BEAUTIFY_FLAG" val="#wm#"/>
  <p:tag name="KSO_WM_UNIT_VALUE" val="7"/>
  <p:tag name="KSO_WM_CHIP_GROUPID" val="6167d2a06603f1460a45585d"/>
  <p:tag name="KSO_WM_CHIP_XID" val="6167d2a06603f1460a45585a"/>
  <p:tag name="KSO_WM_CHIP_FILLAREA_FILL_RULE" val="{&quot;fill_align&quot;:&quot;lm&quot;,&quot;fill_mode&quot;:&quot;adaptive&quot;,&quot;sacle_strategy&quot;:&quot;smart&quot;}"/>
  <p:tag name="KSO_WM_ASSEMBLE_CHIP_INDEX" val="5a39035896644801aabb055ec3d70f4c"/>
</p:tagLst>
</file>

<file path=ppt/tags/tag195.xml><?xml version="1.0" encoding="utf-8"?>
<p:tagLst xmlns:p="http://schemas.openxmlformats.org/presentationml/2006/main">
  <p:tag name="ISLIDE.THEME" val="https://www.islide.cc;"/>
  <p:tag name="KSO_WM_BEAUTIFY_FLAG" val="#wm#"/>
  <p:tag name="KSO_WM_TEMPLATE_CATEGORY" val="custom"/>
  <p:tag name="KSO_WM_TEMPLATE_INDEX" val="20220976"/>
  <p:tag name="KSO_WM_SLIDE_ID" val="custom20220976_23"/>
  <p:tag name="KSO_WM_TEMPLATE_SUBCATEGORY" val="21"/>
  <p:tag name="KSO_WM_TEMPLATE_MASTER_TYPE" val="1"/>
  <p:tag name="KSO_WM_TEMPLATE_COLOR_TYPE" val="1"/>
  <p:tag name="KSO_WM_SLIDE_ITEM_CNT" val="0"/>
  <p:tag name="KSO_WM_SLIDE_INDEX" val="23"/>
  <p:tag name="KSO_WM_TAG_VERSION" val="1.0"/>
  <p:tag name="KSO_WM_CHIP_INFOS" val="{&quot;type&quot;:0,&quot;layout_type&quot;:&quot;1_NF_C_2&quot;,&quot;layout_feature&quot;:1,&quot;aspect_ratio&quot;:&quot;16:9&quot;,&quot;same_font_size&quot;:false,&quot;diagram&quot;:{&quot;type&quot;:[],&quot;direction&quot;:0,&quot;isSupportDecBetweenItems&quot;:false},&quot;tags&quot;:{&quot;style&quot;:[&quot;全选&quot;,&quot;商务&quot;,&quot;简约&quot;,&quot;文艺清新&quot;,&quot;中国风&quot;,&quot;卡通&quot;,&quot;欧美风&quot;,&quot;黑板风&quot;,&quot;渐变风&quot;,&quot;党政风&quot;]},&quot;slide_type&quot;:[&quot;endPage&quot;],&quot;useType&quot;:[&quot;ppt&quot;]}"/>
  <p:tag name="KSO_WM_CHIP_FILLPROP" val="[[{&quot;text_align&quot;:&quot;lm&quot;,&quot;text_direction&quot;:&quot;horizontal&quot;,&quot;support_big_font&quot;:false,&quot;picture_toward&quot;:0,&quot;picture_dockside&quot;:[],&quot;fill_id&quot;:&quot;6a207adb2ada4173be4a5d0b23402037&quot;,&quot;fill_align&quot;:&quot;lm&quot;,&quot;chip_types&quot;:[&quot;header&quot;,&quot;wordpuzzle&quot;]}],[{&quot;text_align&quot;:&quot;cm&quot;,&quot;text_direction&quot;:&quot;horizontal&quot;,&quot;support_big_font&quot;:false,&quot;picture_toward&quot;:0,&quot;picture_dockside&quot;:[],&quot;fill_id&quot;:&quot;6a207adb2ada4173be4a5d0b23402037&quot;,&quot;fill_align&quot;:&quot;cm&quot;,&quot;chip_types&quot;:[&quot;header&quot;,&quot;wordpuzzle&quot;]}]]"/>
  <p:tag name="KSO_WM_CHIP_DECFILLPROP" val="[]"/>
  <p:tag name="KSO_WM_SLIDE_LAYOUT" val="a_b_f"/>
  <p:tag name="KSO_WM_SLIDE_LAYOUT_CNT" val="1_1_1"/>
  <p:tag name="KSO_WM_CHIP_XID" val="61309952c37455bdf62aa2f5"/>
  <p:tag name="KSO_WM_CHIP_GROUPID" val="61309952c37455bdf62aa2f4"/>
  <p:tag name="KSO_WM_SLIDE_LAYOUT_INFO" val="{&quot;id&quot;:&quot;2021-11-19T15:00:21&quot;,&quot;margin&quot;:{&quot;bottom&quot;:6.509620189666748,&quot;left&quot;:5.981347560882568,&quot;right&quot;:5.980220794677734,&quot;top&quot;:6.509584903717041},&quot;type&quot;:0}"/>
  <p:tag name="KSO_WM_SLIDE_BK_DARK_LIGHT" val="2"/>
  <p:tag name="KSO_WM_SLIDE_BACKGROUND_TYPE" val="general"/>
  <p:tag name="KSO_WM_SLIDE_SUPPORT_FEATURE_TYPE" val="0"/>
  <p:tag name="KSO_WM_SLIDE_TYPE" val="endPage"/>
  <p:tag name="KSO_WM_CHIP_COLORING" val="3"/>
  <p:tag name="KSO_WM_SLIDE_SUBTYPE" val="pureTxt"/>
  <p:tag name="KSO_WM_TEMPLATE_ASSEMBLE_XID" val="61974b7d78bf544979703f82"/>
  <p:tag name="KSO_WM_TEMPLATE_ASSEMBLE_GROUPID" val="618ddf349d7b144ec989f16d"/>
</p:tagLst>
</file>

<file path=ppt/tags/tag196.xml><?xml version="1.0" encoding="utf-8"?>
<p:tagLst xmlns:p="http://schemas.openxmlformats.org/presentationml/2006/main">
  <p:tag name="ISLIDE.THEME" val="#281165"/>
  <p:tag name="COMMONDATA" val="eyJoZGlkIjoiMTgxNTA1MWUzZmQ2NjU2YWIzNWNlMWIxMzYwZjJjZGQifQ=="/>
</p:tagLst>
</file>

<file path=ppt/tags/tag2.xml><?xml version="1.0" encoding="utf-8"?>
<p:tagLst xmlns:p="http://schemas.openxmlformats.org/presentationml/2006/main">
  <p:tag name="KSO_WM_UNIT_DEFAULT_FONT" val="96;115;2"/>
  <p:tag name="KSO_WM_UNIT_BLOCK" val="0"/>
  <p:tag name="KSO_WM_UNIT_DEC_AREA_ID" val="82349d52c26f4e668adc14352c969815"/>
  <p:tag name="KSO_WM_UNIT_ISCONTENTSTITLE" val="0"/>
  <p:tag name="KSO_WM_UNIT_ISNUMDGMTITLE" val="0"/>
  <p:tag name="KSO_WM_UNIT_PRESET_TEXT" val="工作总结汇报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custom20220976_1*a*1"/>
  <p:tag name="KSO_WM_TEMPLATE_CATEGORY" val="custom"/>
  <p:tag name="KSO_WM_TEMPLATE_INDEX" val="20220976"/>
  <p:tag name="KSO_WM_UNIT_LAYERLEVEL" val="1"/>
  <p:tag name="KSO_WM_TAG_VERSION" val="1.0"/>
  <p:tag name="KSO_WM_BEAUTIFY_FLAG" val="#wm#"/>
  <p:tag name="KSO_WM_UNIT_VALUE" val="7"/>
  <p:tag name="KSO_WM_CHIP_GROUPID" val="6167d2a06603f1460a45585d"/>
  <p:tag name="KSO_WM_CHIP_XID" val="6167d2a06603f1460a45585a"/>
  <p:tag name="KSO_WM_CHIP_FILLAREA_FILL_RULE" val="{&quot;fill_align&quot;:&quot;lm&quot;,&quot;fill_mode&quot;:&quot;adaptive&quot;,&quot;sacle_strategy&quot;:&quot;smart&quot;}"/>
  <p:tag name="KSO_WM_ASSEMBLE_CHIP_INDEX" val="90e9af761bb14550bc92a7e5306b40a0"/>
  <p:tag name="KSO_WM_TEMPLATE_ASSEMBLE_XID" val="61974b81c75558f33bc3a755"/>
  <p:tag name="KSO_WM_TEMPLATE_ASSEMBLE_GROUPID" val="618ddf349d7b144ec989f16d"/>
</p:tagLst>
</file>

<file path=ppt/tags/tag20.xml><?xml version="1.0" encoding="utf-8"?>
<p:tagLst xmlns:p="http://schemas.openxmlformats.org/presentationml/2006/main">
  <p:tag name="KSO_WM_SLIDE_BACKGROUND_TYPE" val="general"/>
</p:tagLst>
</file>

<file path=ppt/tags/tag21.xml><?xml version="1.0" encoding="utf-8"?>
<p:tagLst xmlns:p="http://schemas.openxmlformats.org/presentationml/2006/main">
  <p:tag name="KSO_WM_UNIT_SUBTYPE" val="v"/>
  <p:tag name="KSO_WM_TEMPLATE_CATEGORY" val="chip"/>
  <p:tag name="KSO_WM_TEMPLATE_INDEX" val="20220976"/>
  <p:tag name="KSO_WM_UNIT_TYPE" val="i"/>
  <p:tag name="KSO_WM_UNIT_INDEX" val="1"/>
  <p:tag name="KSO_WM_UNIT_ID" val="chip20220976_10*i*1"/>
  <p:tag name="KSO_WM_BEAUTIFY_FLAG" val="#wm#"/>
  <p:tag name="KSO_WM_TAG_VERSION" val="1.0"/>
  <p:tag name="KSO_WM_CHIP_GROUPID" val="618ddf349d7b144ec989f16d"/>
  <p:tag name="KSO_WM_CHIP_XID" val="618e0a8a5268663be886272e"/>
  <p:tag name="KSO_WM_UNIT_DEC_AREA_ID" val="76f8f10462254f6f8881797f3c492e25"/>
  <p:tag name="KSO_WM_CHIP_FILLAREA_FILL_RULE" val="{&quot;fill_align&quot;:&quot;cm&quot;,&quot;fill_effect&quot;:[],&quot;fill_mode&quot;:&quot;full&quot;,&quot;sacle_strategy&quot;:&quot;stretch&quot;}"/>
  <p:tag name="KSO_WM_UNIT_DEC_SUPPORTCHANGEPIC" val="0"/>
  <p:tag name="KSO_WM_UNIT_DEC_CHANGEPICRESERVED" val="1"/>
  <p:tag name="KSO_WM_ASSEMBLE_CHIP_INDEX" val="dbcc8e6bbe1240f7b30dd5aa33163fb4"/>
  <p:tag name="KSO_WM_SLIDE_BACKGROUND_TYPE" val="frame"/>
</p:tagLst>
</file>

<file path=ppt/tags/tag22.xml><?xml version="1.0" encoding="utf-8"?>
<p:tagLst xmlns:p="http://schemas.openxmlformats.org/presentationml/2006/main">
  <p:tag name="KSO_WM_SLIDE_BACKGROUND_TYPE" val="frame"/>
  <p:tag name="KSO_WM_SLIDE_BK_DARK_LIGHT" val="2"/>
  <p:tag name="KSO_WM_UNIT_HIGHLIGHT" val="0"/>
  <p:tag name="KSO_WM_UNIT_COMPATIBLE" val="0"/>
  <p:tag name="KSO_WM_UNIT_DIAGRAM_ISNUMVISUAL" val="0"/>
  <p:tag name="KSO_WM_UNIT_DIAGRAM_ISREFERUNIT" val="0"/>
  <p:tag name="KSO_WM_UNIT_ID" val="bg20220286_2*i*1"/>
  <p:tag name="KSO_WM_UNIT_LAYERLEVEL" val="1"/>
  <p:tag name="KSO_WM_TAG_VERSION" val="1.0"/>
  <p:tag name="KSO_WM_BEAUTIFY_FLAG" val="#wm#"/>
  <p:tag name="KSO_WM_UNIT_BK_DARK_LIGHT" val="2"/>
  <p:tag name="KSO_WM_UNIT_SUBTYPE" val="h"/>
  <p:tag name="KSO_WM_UNIT_TYPE" val="i"/>
  <p:tag name="KSO_WM_UNIT_INDEX" val="1"/>
  <p:tag name="KSO_WM_TEMPLATE_CATEGORY" val="bg"/>
  <p:tag name="KSO_WM_TEMPLATE_INDEX" val="20220286"/>
  <p:tag name="KSO_WM_CHIP_GROUPID" val="612f6a61c37455bdf62a9584"/>
  <p:tag name="KSO_WM_CHIP_XID" val="612f6a61c37455bdf62a9586"/>
  <p:tag name="KSO_WM_UNIT_FILL_FORE_SCHEMECOLOR_INDEX_BRIGHTNESS" val="0"/>
  <p:tag name="KSO_WM_UNIT_FILL_FORE_SCHEMECOLOR_INDEX" val="16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23.xml><?xml version="1.0" encoding="utf-8"?>
<p:tagLst xmlns:p="http://schemas.openxmlformats.org/presentationml/2006/main">
  <p:tag name="KSO_WM_SLIDE_BACKGROUND_TYPE" val="frame"/>
</p:tagLst>
</file>

<file path=ppt/tags/tag24.xml><?xml version="1.0" encoding="utf-8"?>
<p:tagLst xmlns:p="http://schemas.openxmlformats.org/presentationml/2006/main">
  <p:tag name="KSO_WM_SLIDE_BACKGROUND_TYPE" val="frame"/>
</p:tagLst>
</file>

<file path=ppt/tags/tag25.xml><?xml version="1.0" encoding="utf-8"?>
<p:tagLst xmlns:p="http://schemas.openxmlformats.org/presentationml/2006/main">
  <p:tag name="KSO_WM_SLIDE_BACKGROUND_TYPE" val="frame"/>
</p:tagLst>
</file>

<file path=ppt/tags/tag26.xml><?xml version="1.0" encoding="utf-8"?>
<p:tagLst xmlns:p="http://schemas.openxmlformats.org/presentationml/2006/main">
  <p:tag name="KSO_WM_SLIDE_BACKGROUND_TYPE" val="frame"/>
</p:tagLst>
</file>

<file path=ppt/tags/tag27.xml><?xml version="1.0" encoding="utf-8"?>
<p:tagLst xmlns:p="http://schemas.openxmlformats.org/presentationml/2006/main">
  <p:tag name="KSO_WM_SLIDE_BACKGROUND_TYPE" val="frame"/>
</p:tagLst>
</file>

<file path=ppt/tags/tag28.xml><?xml version="1.0" encoding="utf-8"?>
<p:tagLst xmlns:p="http://schemas.openxmlformats.org/presentationml/2006/main">
  <p:tag name="KSO_WM_UNIT_SUBTYPE" val="v"/>
  <p:tag name="KSO_WM_TEMPLATE_CATEGORY" val="chip"/>
  <p:tag name="KSO_WM_TEMPLATE_INDEX" val="20220976"/>
  <p:tag name="KSO_WM_UNIT_TYPE" val="i"/>
  <p:tag name="KSO_WM_UNIT_INDEX" val="1"/>
  <p:tag name="KSO_WM_UNIT_ID" val="chip20220976_10*i*1"/>
  <p:tag name="KSO_WM_BEAUTIFY_FLAG" val="#wm#"/>
  <p:tag name="KSO_WM_TAG_VERSION" val="1.0"/>
  <p:tag name="KSO_WM_CHIP_GROUPID" val="618ddf349d7b144ec989f16d"/>
  <p:tag name="KSO_WM_CHIP_XID" val="618e0a8a5268663be886272e"/>
  <p:tag name="KSO_WM_UNIT_DEC_AREA_ID" val="963cb5ec94ab498e9f9e8337d5e84f0b"/>
  <p:tag name="KSO_WM_CHIP_FILLAREA_FILL_RULE" val="{&quot;fill_align&quot;:&quot;cm&quot;,&quot;fill_effect&quot;:[],&quot;fill_mode&quot;:&quot;full&quot;,&quot;sacle_strategy&quot;:&quot;stretch&quot;}"/>
  <p:tag name="KSO_WM_UNIT_DEC_SUPPORTCHANGEPIC" val="0"/>
  <p:tag name="KSO_WM_UNIT_DEC_CHANGEPICRESERVED" val="1"/>
  <p:tag name="KSO_WM_ASSEMBLE_CHIP_INDEX" val="b3c4a1e3b97447cf9b7152e6d5c5179c"/>
  <p:tag name="KSO_WM_SLIDE_BACKGROUND_TYPE" val="leftRight"/>
</p:tagLst>
</file>

<file path=ppt/tags/tag29.xml><?xml version="1.0" encoding="utf-8"?>
<p:tagLst xmlns:p="http://schemas.openxmlformats.org/presentationml/2006/main">
  <p:tag name="KSO_WM_SLIDE_BACKGROUND_TYPE" val="leftRight"/>
  <p:tag name="KSO_WM_SLIDE_BK_DARK_LIGHT" val="2"/>
  <p:tag name="KSO_WM_UNIT_HIGHLIGHT" val="0"/>
  <p:tag name="KSO_WM_UNIT_COMPATIBLE" val="0"/>
  <p:tag name="KSO_WM_UNIT_DIAGRAM_ISNUMVISUAL" val="0"/>
  <p:tag name="KSO_WM_UNIT_DIAGRAM_ISREFERUNIT" val="0"/>
  <p:tag name="KSO_WM_UNIT_ID" val="bg20220286_3*i*1"/>
  <p:tag name="KSO_WM_UNIT_LAYERLEVEL" val="1"/>
  <p:tag name="KSO_WM_TAG_VERSION" val="1.0"/>
  <p:tag name="KSO_WM_BEAUTIFY_FLAG" val="#wm#"/>
  <p:tag name="KSO_WM_UNIT_SUBTYPE" val="h"/>
  <p:tag name="KSO_WM_UNIT_TYPE" val="i"/>
  <p:tag name="KSO_WM_UNIT_INDEX" val="1"/>
  <p:tag name="KSO_WM_UNIT_BK_DARK_LIGHT" val="2"/>
  <p:tag name="KSO_WM_TEMPLATE_CATEGORY" val="bg"/>
  <p:tag name="KSO_WM_TEMPLATE_INDEX" val="20220286"/>
  <p:tag name="KSO_WM_CHIP_GROUPID" val="612f6a61c37455bdf62a9584"/>
  <p:tag name="KSO_WM_CHIP_XID" val="612f6a61c37455bdf62a9587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3.xml><?xml version="1.0" encoding="utf-8"?>
<p:tagLst xmlns:p="http://schemas.openxmlformats.org/presentationml/2006/main">
  <p:tag name="KSO_WM_UNIT_DEFAULT_FONT" val="24;32;2"/>
  <p:tag name="KSO_WM_UNIT_BLOCK" val="0"/>
  <p:tag name="KSO_WM_UNIT_DEC_AREA_ID" val="86eadf05607c4199b7e8ad016304e549"/>
  <p:tag name="KSO_WM_UNIT_ISCONTENTSTITLE" val="0"/>
  <p:tag name="KSO_WM_UNIT_ISNUMDGMTITLE" val="0"/>
  <p:tag name="KSO_WM_UNIT_PRESET_TEXT" val="添加副标题"/>
  <p:tag name="KSO_WM_UNIT_NOCLEAR" val="0"/>
  <p:tag name="KSO_WM_UNIT_VALUE" val="6"/>
  <p:tag name="KSO_WM_UNIT_HIGHLIGHT" val="0"/>
  <p:tag name="KSO_WM_UNIT_COMPATIBLE" val="0"/>
  <p:tag name="KSO_WM_UNIT_DIAGRAM_ISNUMVISUAL" val="0"/>
  <p:tag name="KSO_WM_UNIT_DIAGRAM_ISREFERUNIT" val="0"/>
  <p:tag name="KSO_WM_UNIT_TYPE" val="b"/>
  <p:tag name="KSO_WM_UNIT_INDEX" val="1"/>
  <p:tag name="KSO_WM_UNIT_ID" val="custom20220976_1*b*1"/>
  <p:tag name="KSO_WM_TEMPLATE_CATEGORY" val="custom"/>
  <p:tag name="KSO_WM_TEMPLATE_INDEX" val="20220976"/>
  <p:tag name="KSO_WM_UNIT_LAYERLEVEL" val="1"/>
  <p:tag name="KSO_WM_TAG_VERSION" val="1.0"/>
  <p:tag name="KSO_WM_BEAUTIFY_FLAG" val="#wm#"/>
  <p:tag name="KSO_WM_CHIP_GROUPID" val="6167d2a06603f1460a45585d"/>
  <p:tag name="KSO_WM_CHIP_XID" val="6167d2a06603f1460a45585a"/>
  <p:tag name="KSO_WM_CHIP_FILLAREA_FILL_RULE" val="{&quot;fill_align&quot;:&quot;lm&quot;,&quot;fill_mode&quot;:&quot;adaptive&quot;,&quot;sacle_strategy&quot;:&quot;smart&quot;}"/>
  <p:tag name="KSO_WM_ASSEMBLE_CHIP_INDEX" val="90e9af761bb14550bc92a7e5306b40a0"/>
  <p:tag name="KSO_WM_UNIT_TEXT_FILL_FORE_SCHEMECOLOR_INDEX_BRIGHTNESS" val="0.15"/>
  <p:tag name="KSO_WM_UNIT_TEXT_FILL_FORE_SCHEMECOLOR_INDEX" val="13"/>
  <p:tag name="KSO_WM_UNIT_TEXT_FILL_TYPE" val="1"/>
  <p:tag name="KSO_WM_TEMPLATE_ASSEMBLE_XID" val="61974b81c75558f33bc3a755"/>
  <p:tag name="KSO_WM_TEMPLATE_ASSEMBLE_GROUPID" val="618ddf349d7b144ec989f16d"/>
</p:tagLst>
</file>

<file path=ppt/tags/tag30.xml><?xml version="1.0" encoding="utf-8"?>
<p:tagLst xmlns:p="http://schemas.openxmlformats.org/presentationml/2006/main">
  <p:tag name="KSO_WM_SLIDE_BACKGROUND_TYPE" val="leftRight"/>
</p:tagLst>
</file>

<file path=ppt/tags/tag31.xml><?xml version="1.0" encoding="utf-8"?>
<p:tagLst xmlns:p="http://schemas.openxmlformats.org/presentationml/2006/main">
  <p:tag name="KSO_WM_SLIDE_BACKGROUND_TYPE" val="leftRight"/>
</p:tagLst>
</file>

<file path=ppt/tags/tag32.xml><?xml version="1.0" encoding="utf-8"?>
<p:tagLst xmlns:p="http://schemas.openxmlformats.org/presentationml/2006/main">
  <p:tag name="KSO_WM_SLIDE_BACKGROUND_TYPE" val="leftRight"/>
</p:tagLst>
</file>

<file path=ppt/tags/tag33.xml><?xml version="1.0" encoding="utf-8"?>
<p:tagLst xmlns:p="http://schemas.openxmlformats.org/presentationml/2006/main">
  <p:tag name="KSO_WM_SLIDE_BACKGROUND_TYPE" val="leftRight"/>
</p:tagLst>
</file>

<file path=ppt/tags/tag34.xml><?xml version="1.0" encoding="utf-8"?>
<p:tagLst xmlns:p="http://schemas.openxmlformats.org/presentationml/2006/main">
  <p:tag name="KSO_WM_SLIDE_BACKGROUND_TYPE" val="leftRight"/>
</p:tagLst>
</file>

<file path=ppt/tags/tag35.xml><?xml version="1.0" encoding="utf-8"?>
<p:tagLst xmlns:p="http://schemas.openxmlformats.org/presentationml/2006/main">
  <p:tag name="KSO_WM_SLIDE_BACKGROUND_TYPE" val="leftRight"/>
</p:tagLst>
</file>

<file path=ppt/tags/tag36.xml><?xml version="1.0" encoding="utf-8"?>
<p:tagLst xmlns:p="http://schemas.openxmlformats.org/presentationml/2006/main">
  <p:tag name="KSO_WM_UNIT_SUBTYPE" val="v"/>
  <p:tag name="KSO_WM_TEMPLATE_CATEGORY" val="chip"/>
  <p:tag name="KSO_WM_TEMPLATE_INDEX" val="20220976"/>
  <p:tag name="KSO_WM_UNIT_TYPE" val="i"/>
  <p:tag name="KSO_WM_UNIT_INDEX" val="1"/>
  <p:tag name="KSO_WM_UNIT_ID" val="chip20220976_10*i*1"/>
  <p:tag name="KSO_WM_BEAUTIFY_FLAG" val="#wm#"/>
  <p:tag name="KSO_WM_TAG_VERSION" val="1.0"/>
  <p:tag name="KSO_WM_CHIP_GROUPID" val="618ddf349d7b144ec989f16d"/>
  <p:tag name="KSO_WM_CHIP_XID" val="618e0a8a5268663be886272e"/>
  <p:tag name="KSO_WM_UNIT_DEC_AREA_ID" val="007db961dfcd4242a4045471f991b0c8"/>
  <p:tag name="KSO_WM_CHIP_FILLAREA_FILL_RULE" val="{&quot;fill_align&quot;:&quot;cm&quot;,&quot;fill_effect&quot;:[],&quot;fill_mode&quot;:&quot;full&quot;,&quot;sacle_strategy&quot;:&quot;stretch&quot;}"/>
  <p:tag name="KSO_WM_UNIT_DEC_SUPPORTCHANGEPIC" val="0"/>
  <p:tag name="KSO_WM_UNIT_DEC_CHANGEPICRESERVED" val="1"/>
  <p:tag name="KSO_WM_ASSEMBLE_CHIP_INDEX" val="7a83887a12814146b22bf3b8fd287c2c"/>
  <p:tag name="KSO_WM_SLIDE_BACKGROUND_TYPE" val="topBottom"/>
</p:tagLst>
</file>

<file path=ppt/tags/tag37.xml><?xml version="1.0" encoding="utf-8"?>
<p:tagLst xmlns:p="http://schemas.openxmlformats.org/presentationml/2006/main">
  <p:tag name="KSO_WM_SLIDE_BACKGROUND_TYPE" val="topBottom"/>
  <p:tag name="KSO_WM_SLIDE_BK_DARK_LIGHT" val="2"/>
  <p:tag name="KSO_WM_UNIT_HIGHLIGHT" val="0"/>
  <p:tag name="KSO_WM_UNIT_COMPATIBLE" val="0"/>
  <p:tag name="KSO_WM_UNIT_DIAGRAM_ISNUMVISUAL" val="0"/>
  <p:tag name="KSO_WM_UNIT_DIAGRAM_ISREFERUNIT" val="0"/>
  <p:tag name="KSO_WM_UNIT_ID" val="bg20220286_4*i*1"/>
  <p:tag name="KSO_WM_UNIT_LAYERLEVEL" val="1"/>
  <p:tag name="KSO_WM_TAG_VERSION" val="1.0"/>
  <p:tag name="KSO_WM_BEAUTIFY_FLAG" val="#wm#"/>
  <p:tag name="KSO_WM_UNIT_SUBTYPE" val="h"/>
  <p:tag name="KSO_WM_UNIT_TYPE" val="i"/>
  <p:tag name="KSO_WM_UNIT_INDEX" val="1"/>
  <p:tag name="KSO_WM_UNIT_BK_DARK_LIGHT" val="2"/>
  <p:tag name="KSO_WM_TEMPLATE_CATEGORY" val="bg"/>
  <p:tag name="KSO_WM_TEMPLATE_INDEX" val="20220286"/>
  <p:tag name="KSO_WM_CHIP_GROUPID" val="612f6a61c37455bdf62a9584"/>
  <p:tag name="KSO_WM_CHIP_XID" val="612f6a61c37455bdf62a9588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38.xml><?xml version="1.0" encoding="utf-8"?>
<p:tagLst xmlns:p="http://schemas.openxmlformats.org/presentationml/2006/main">
  <p:tag name="KSO_WM_SLIDE_BACKGROUND_TYPE" val="topBottom"/>
</p:tagLst>
</file>

<file path=ppt/tags/tag39.xml><?xml version="1.0" encoding="utf-8"?>
<p:tagLst xmlns:p="http://schemas.openxmlformats.org/presentationml/2006/main">
  <p:tag name="KSO_WM_SLIDE_BACKGROUND_TYPE" val="topBottom"/>
</p:tagLst>
</file>

<file path=ppt/tags/tag4.xml><?xml version="1.0" encoding="utf-8"?>
<p:tagLst xmlns:p="http://schemas.openxmlformats.org/presentationml/2006/main">
  <p:tag name="KSO_WM_UNIT_SUBTYPE" val="v"/>
  <p:tag name="KSO_WM_TEMPLATE_CATEGORY" val="chip"/>
  <p:tag name="KSO_WM_TEMPLATE_INDEX" val="20220976"/>
  <p:tag name="KSO_WM_UNIT_TYPE" val="i"/>
  <p:tag name="KSO_WM_UNIT_INDEX" val="1"/>
  <p:tag name="KSO_WM_UNIT_ID" val="chip20220976_10*i*1"/>
  <p:tag name="KSO_WM_BEAUTIFY_FLAG" val="#wm#"/>
  <p:tag name="KSO_WM_TAG_VERSION" val="1.0"/>
  <p:tag name="KSO_WM_CHIP_GROUPID" val="618ddf349d7b144ec989f16d"/>
  <p:tag name="KSO_WM_CHIP_XID" val="618e0a8a5268663be886272e"/>
  <p:tag name="KSO_WM_UNIT_DEC_AREA_ID" val="d9eae15fe76b40e6984debcabf97c036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effect&quot;:[],&quot;fill_mode&quot;:&quot;full&quot;,&quot;sacle_strategy&quot;:&quot;stretch&quot;}"/>
  <p:tag name="KSO_WM_UNIT_DEC_SUPPORTCHANGEPIC" val="0"/>
  <p:tag name="KSO_WM_UNIT_DEC_CHANGEPICRESERVED" val="1"/>
  <p:tag name="KSO_WM_ASSEMBLE_CHIP_INDEX" val="a0294ecdd6df492db45eee51a79bb287"/>
</p:tagLst>
</file>

<file path=ppt/tags/tag40.xml><?xml version="1.0" encoding="utf-8"?>
<p:tagLst xmlns:p="http://schemas.openxmlformats.org/presentationml/2006/main">
  <p:tag name="KSO_WM_SLIDE_BACKGROUND_TYPE" val="topBottom"/>
</p:tagLst>
</file>

<file path=ppt/tags/tag41.xml><?xml version="1.0" encoding="utf-8"?>
<p:tagLst xmlns:p="http://schemas.openxmlformats.org/presentationml/2006/main">
  <p:tag name="KSO_WM_SLIDE_BACKGROUND_TYPE" val="topBottom"/>
</p:tagLst>
</file>

<file path=ppt/tags/tag42.xml><?xml version="1.0" encoding="utf-8"?>
<p:tagLst xmlns:p="http://schemas.openxmlformats.org/presentationml/2006/main">
  <p:tag name="KSO_WM_SLIDE_BACKGROUND_TYPE" val="topBottom"/>
</p:tagLst>
</file>

<file path=ppt/tags/tag43.xml><?xml version="1.0" encoding="utf-8"?>
<p:tagLst xmlns:p="http://schemas.openxmlformats.org/presentationml/2006/main">
  <p:tag name="KSO_WM_SLIDE_BACKGROUND_TYPE" val="topBottom"/>
</p:tagLst>
</file>

<file path=ppt/tags/tag44.xml><?xml version="1.0" encoding="utf-8"?>
<p:tagLst xmlns:p="http://schemas.openxmlformats.org/presentationml/2006/main">
  <p:tag name="KSO_WM_UNIT_SUBTYPE" val="v"/>
  <p:tag name="KSO_WM_TEMPLATE_CATEGORY" val="chip"/>
  <p:tag name="KSO_WM_TEMPLATE_INDEX" val="20220976"/>
  <p:tag name="KSO_WM_UNIT_TYPE" val="i"/>
  <p:tag name="KSO_WM_UNIT_INDEX" val="1"/>
  <p:tag name="KSO_WM_UNIT_ID" val="chip20220976_10*i*1"/>
  <p:tag name="KSO_WM_BEAUTIFY_FLAG" val="#wm#"/>
  <p:tag name="KSO_WM_TAG_VERSION" val="1.0"/>
  <p:tag name="KSO_WM_CHIP_GROUPID" val="618ddf349d7b144ec989f16d"/>
  <p:tag name="KSO_WM_CHIP_XID" val="618e0a8a5268663be886272e"/>
  <p:tag name="KSO_WM_UNIT_DEC_AREA_ID" val="7368434fbe67438f89a9e78cc1ca5881"/>
  <p:tag name="KSO_WM_CHIP_FILLAREA_FILL_RULE" val="{&quot;fill_align&quot;:&quot;cm&quot;,&quot;fill_effect&quot;:[],&quot;fill_mode&quot;:&quot;full&quot;,&quot;sacle_strategy&quot;:&quot;stretch&quot;}"/>
  <p:tag name="KSO_WM_UNIT_DEC_SUPPORTCHANGEPIC" val="0"/>
  <p:tag name="KSO_WM_UNIT_DEC_CHANGEPICRESERVED" val="1"/>
  <p:tag name="KSO_WM_ASSEMBLE_CHIP_INDEX" val="d2e1df574bc34b5fb51e432ce3c4373b"/>
  <p:tag name="KSO_WM_SLIDE_BACKGROUND_TYPE" val="bottomTop"/>
</p:tagLst>
</file>

<file path=ppt/tags/tag45.xml><?xml version="1.0" encoding="utf-8"?>
<p:tagLst xmlns:p="http://schemas.openxmlformats.org/presentationml/2006/main">
  <p:tag name="KSO_WM_SLIDE_BACKGROUND_TYPE" val="bottomTop"/>
  <p:tag name="KSO_WM_SLIDE_BK_DARK_LIGHT" val="2"/>
  <p:tag name="KSO_WM_UNIT_HIGHLIGHT" val="0"/>
  <p:tag name="KSO_WM_UNIT_COMPATIBLE" val="0"/>
  <p:tag name="KSO_WM_UNIT_DIAGRAM_ISNUMVISUAL" val="0"/>
  <p:tag name="KSO_WM_UNIT_DIAGRAM_ISREFERUNIT" val="0"/>
  <p:tag name="KSO_WM_UNIT_ID" val="bg20220286_5*i*1"/>
  <p:tag name="KSO_WM_UNIT_LAYERLEVEL" val="1"/>
  <p:tag name="KSO_WM_TAG_VERSION" val="1.0"/>
  <p:tag name="KSO_WM_BEAUTIFY_FLAG" val="#wm#"/>
  <p:tag name="KSO_WM_UNIT_SUBTYPE" val="h"/>
  <p:tag name="KSO_WM_UNIT_TYPE" val="i"/>
  <p:tag name="KSO_WM_UNIT_INDEX" val="1"/>
  <p:tag name="KSO_WM_UNIT_BK_DARK_LIGHT" val="2"/>
  <p:tag name="KSO_WM_TEMPLATE_CATEGORY" val="bg"/>
  <p:tag name="KSO_WM_TEMPLATE_INDEX" val="20220286"/>
  <p:tag name="KSO_WM_CHIP_GROUPID" val="612f6a61c37455bdf62a9584"/>
  <p:tag name="KSO_WM_CHIP_XID" val="612f6a61c37455bdf62a9589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46.xml><?xml version="1.0" encoding="utf-8"?>
<p:tagLst xmlns:p="http://schemas.openxmlformats.org/presentationml/2006/main">
  <p:tag name="KSO_WM_SLIDE_BACKGROUND_TYPE" val="bottomTop"/>
</p:tagLst>
</file>

<file path=ppt/tags/tag47.xml><?xml version="1.0" encoding="utf-8"?>
<p:tagLst xmlns:p="http://schemas.openxmlformats.org/presentationml/2006/main">
  <p:tag name="KSO_WM_SLIDE_BACKGROUND_TYPE" val="bottomTop"/>
</p:tagLst>
</file>

<file path=ppt/tags/tag48.xml><?xml version="1.0" encoding="utf-8"?>
<p:tagLst xmlns:p="http://schemas.openxmlformats.org/presentationml/2006/main">
  <p:tag name="KSO_WM_SLIDE_BACKGROUND_TYPE" val="bottomTop"/>
</p:tagLst>
</file>

<file path=ppt/tags/tag49.xml><?xml version="1.0" encoding="utf-8"?>
<p:tagLst xmlns:p="http://schemas.openxmlformats.org/presentationml/2006/main">
  <p:tag name="KSO_WM_SLIDE_BACKGROUND_TYPE" val="bottomTop"/>
</p:tagLst>
</file>

<file path=ppt/tags/tag5.xml><?xml version="1.0" encoding="utf-8"?>
<p:tagLst xmlns:p="http://schemas.openxmlformats.org/presentationml/2006/main">
  <p:tag name="KSO_WM_UNIT_SUBTYPE" val="v"/>
  <p:tag name="KSO_WM_TEMPLATE_CATEGORY" val="chip"/>
  <p:tag name="KSO_WM_TEMPLATE_INDEX" val="20220976"/>
  <p:tag name="KSO_WM_UNIT_TYPE" val="i"/>
  <p:tag name="KSO_WM_UNIT_INDEX" val="1"/>
  <p:tag name="KSO_WM_UNIT_ID" val="chip20220976_8*i*1"/>
  <p:tag name="KSO_WM_BEAUTIFY_FLAG" val="#wm#"/>
  <p:tag name="KSO_WM_TAG_VERSION" val="1.0"/>
  <p:tag name="KSO_WM_CHIP_GROUPID" val="618ddf349d7b144ec989f16d"/>
  <p:tag name="KSO_WM_CHIP_XID" val="618e0a8a5268663be886272d"/>
  <p:tag name="KSO_WM_UNIT_DEC_AREA_ID" val="2850b00a92994cada9960f2f9453e239"/>
  <p:tag name="KSO_WM_CHIP_FILLAREA_FILL_RULE" val="{&quot;fill_align&quot;:&quot;cm&quot;,&quot;fill_effect&quot;:[],&quot;fill_mode&quot;:&quot;full&quot;,&quot;sacle_strategy&quot;:&quot;stretch&quot;}"/>
  <p:tag name="KSO_WM_UNIT_DEC_SUPPORTCHANGEPIC" val="0"/>
  <p:tag name="KSO_WM_UNIT_DEC_CHANGEPICRESERVED" val="1"/>
  <p:tag name="KSO_WM_ASSEMBLE_CHIP_INDEX" val="8c77583e52184d24be6be1e6c99f150d"/>
</p:tagLst>
</file>

<file path=ppt/tags/tag50.xml><?xml version="1.0" encoding="utf-8"?>
<p:tagLst xmlns:p="http://schemas.openxmlformats.org/presentationml/2006/main">
  <p:tag name="KSO_WM_SLIDE_BACKGROUND_TYPE" val="bottomTop"/>
</p:tagLst>
</file>

<file path=ppt/tags/tag51.xml><?xml version="1.0" encoding="utf-8"?>
<p:tagLst xmlns:p="http://schemas.openxmlformats.org/presentationml/2006/main">
  <p:tag name="KSO_WM_SLIDE_BACKGROUND_TYPE" val="bottomTop"/>
</p:tagLst>
</file>

<file path=ppt/tags/tag52.xml><?xml version="1.0" encoding="utf-8"?>
<p:tagLst xmlns:p="http://schemas.openxmlformats.org/presentationml/2006/main">
  <p:tag name="KSO_WM_UNIT_SUBTYPE" val="v"/>
  <p:tag name="KSO_WM_TEMPLATE_CATEGORY" val="chip"/>
  <p:tag name="KSO_WM_TEMPLATE_INDEX" val="20220976"/>
  <p:tag name="KSO_WM_UNIT_TYPE" val="i"/>
  <p:tag name="KSO_WM_UNIT_INDEX" val="1"/>
  <p:tag name="KSO_WM_UNIT_ID" val="chip20220976_10*i*1"/>
  <p:tag name="KSO_WM_BEAUTIFY_FLAG" val="#wm#"/>
  <p:tag name="KSO_WM_TAG_VERSION" val="1.0"/>
  <p:tag name="KSO_WM_CHIP_GROUPID" val="618ddf349d7b144ec989f16d"/>
  <p:tag name="KSO_WM_CHIP_XID" val="618e0a8a5268663be886272e"/>
  <p:tag name="KSO_WM_UNIT_DEC_AREA_ID" val="97ed20fbe6d643bd96b892ea0f4fa9b9"/>
  <p:tag name="KSO_WM_CHIP_FILLAREA_FILL_RULE" val="{&quot;fill_align&quot;:&quot;cm&quot;,&quot;fill_effect&quot;:[],&quot;fill_mode&quot;:&quot;full&quot;,&quot;sacle_strategy&quot;:&quot;stretch&quot;}"/>
  <p:tag name="KSO_WM_UNIT_DEC_SUPPORTCHANGEPIC" val="0"/>
  <p:tag name="KSO_WM_UNIT_DEC_CHANGEPICRESERVED" val="1"/>
  <p:tag name="KSO_WM_ASSEMBLE_CHIP_INDEX" val="41041d7cd2774f92a0f27d1e081f1964"/>
  <p:tag name="KSO_WM_SLIDE_BACKGROUND_TYPE" val="navigation"/>
</p:tagLst>
</file>

<file path=ppt/tags/tag53.xml><?xml version="1.0" encoding="utf-8"?>
<p:tagLst xmlns:p="http://schemas.openxmlformats.org/presentationml/2006/main">
  <p:tag name="KSO_WM_SLIDE_BACKGROUND_TYPE" val="navigation"/>
  <p:tag name="KSO_WM_SLIDE_BK_DARK_LIGHT" val="2"/>
  <p:tag name="KSO_WM_UNIT_HIGHLIGHT" val="0"/>
  <p:tag name="KSO_WM_UNIT_COMPATIBLE" val="0"/>
  <p:tag name="KSO_WM_UNIT_DIAGRAM_ISNUMVISUAL" val="0"/>
  <p:tag name="KSO_WM_UNIT_DIAGRAM_ISREFERUNIT" val="0"/>
  <p:tag name="KSO_WM_UNIT_ID" val="bg20220286_6*i*1"/>
  <p:tag name="KSO_WM_UNIT_LAYERLEVEL" val="1"/>
  <p:tag name="KSO_WM_TAG_VERSION" val="1.0"/>
  <p:tag name="KSO_WM_BEAUTIFY_FLAG" val="#wm#"/>
  <p:tag name="KSO_WM_UNIT_SUBTYPE" val="h"/>
  <p:tag name="KSO_WM_UNIT_TYPE" val="i"/>
  <p:tag name="KSO_WM_UNIT_INDEX" val="1"/>
  <p:tag name="KSO_WM_UNIT_BK_DARK_LIGHT" val="2"/>
  <p:tag name="KSO_WM_TEMPLATE_CATEGORY" val="bg"/>
  <p:tag name="KSO_WM_TEMPLATE_INDEX" val="20220286"/>
  <p:tag name="KSO_WM_CHIP_GROUPID" val="612f6a61c37455bdf62a9584"/>
  <p:tag name="KSO_WM_CHIP_XID" val="612f6a61c37455bdf62a958a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54.xml><?xml version="1.0" encoding="utf-8"?>
<p:tagLst xmlns:p="http://schemas.openxmlformats.org/presentationml/2006/main">
  <p:tag name="KSO_WM_SLIDE_BACKGROUND_TYPE" val="navigation"/>
</p:tagLst>
</file>

<file path=ppt/tags/tag55.xml><?xml version="1.0" encoding="utf-8"?>
<p:tagLst xmlns:p="http://schemas.openxmlformats.org/presentationml/2006/main">
  <p:tag name="KSO_WM_SLIDE_BACKGROUND_TYPE" val="navigation"/>
</p:tagLst>
</file>

<file path=ppt/tags/tag56.xml><?xml version="1.0" encoding="utf-8"?>
<p:tagLst xmlns:p="http://schemas.openxmlformats.org/presentationml/2006/main">
  <p:tag name="KSO_WM_SLIDE_BACKGROUND_TYPE" val="navigation"/>
</p:tagLst>
</file>

<file path=ppt/tags/tag57.xml><?xml version="1.0" encoding="utf-8"?>
<p:tagLst xmlns:p="http://schemas.openxmlformats.org/presentationml/2006/main">
  <p:tag name="KSO_WM_SLIDE_BACKGROUND_TYPE" val="navigation"/>
</p:tagLst>
</file>

<file path=ppt/tags/tag58.xml><?xml version="1.0" encoding="utf-8"?>
<p:tagLst xmlns:p="http://schemas.openxmlformats.org/presentationml/2006/main">
  <p:tag name="KSO_WM_SLIDE_BACKGROUND_TYPE" val="navigation"/>
</p:tagLst>
</file>

<file path=ppt/tags/tag59.xml><?xml version="1.0" encoding="utf-8"?>
<p:tagLst xmlns:p="http://schemas.openxmlformats.org/presentationml/2006/main">
  <p:tag name="KSO_WM_SLIDE_BACKGROUND_TYPE" val="navigation"/>
</p:tagLst>
</file>

<file path=ppt/tags/tag6.xml><?xml version="1.0" encoding="utf-8"?>
<p:tagLst xmlns:p="http://schemas.openxmlformats.org/presentationml/2006/main">
  <p:tag name="KSO_WM_UNIT_ISCONTENTSTITLE" val="0"/>
  <p:tag name="KSO_WM_UNIT_ISNUMDGMTITLE" val="0"/>
  <p:tag name="KSO_WM_UNIT_PRESET_TEXT" val="单击添加标题"/>
  <p:tag name="KSO_WM_UNIT_NOCLEAR" val="0"/>
  <p:tag name="KSO_WM_UNIT_VALUE" val="7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custom20220976_1*a*1"/>
  <p:tag name="KSO_WM_TEMPLATE_CATEGORY" val="custom"/>
  <p:tag name="KSO_WM_TEMPLATE_INDEX" val="20220976"/>
  <p:tag name="KSO_WM_UNIT_LAYERLEVEL" val="1"/>
  <p:tag name="KSO_WM_TAG_VERSION" val="1.0"/>
  <p:tag name="KSO_WM_BEAUTIFY_FLAG" val="#wm#"/>
  <p:tag name="KSO_WM_UNIT_DEFAULT_FONT" val="36;44;2"/>
  <p:tag name="KSO_WM_UNIT_BLOCK" val="0"/>
  <p:tag name="KSO_WM_UNIT_DEC_AREA_ID" val="ad58175166bc4f63b70744db7376c287"/>
  <p:tag name="KSO_WM_CHIP_GROUPID" val="617275e954cda7cf43af418d"/>
  <p:tag name="KSO_WM_CHIP_XID" val="617275e954cda7cf43af418b"/>
  <p:tag name="KSO_WM_CHIP_FILLAREA_FILL_RULE" val="{&quot;fill_align&quot;:&quot;cm&quot;,&quot;fill_mode&quot;:&quot;adaptive&quot;,&quot;sacle_strategy&quot;:&quot;smart&quot;}"/>
  <p:tag name="KSO_WM_ASSEMBLE_CHIP_INDEX" val="fc45748d90fe4c90af8e23d583b1e882"/>
  <p:tag name="KSO_WM_UNIT_TEXT_FILL_FORE_SCHEMECOLOR_INDEX_BRIGHTNESS" val="0"/>
  <p:tag name="KSO_WM_UNIT_TEXT_FILL_FORE_SCHEMECOLOR_INDEX" val="14"/>
  <p:tag name="KSO_WM_UNIT_TEXT_FILL_TYPE" val="1"/>
  <p:tag name="KSO_WM_TEMPLATE_ASSEMBLE_XID" val="61974b7dc75558f33bc3a6e7"/>
  <p:tag name="KSO_WM_TEMPLATE_ASSEMBLE_GROUPID" val="618ddf349d7b144ec989f16d"/>
</p:tagLst>
</file>

<file path=ppt/tags/tag60.xml><?xml version="1.0" encoding="utf-8"?>
<p:tagLst xmlns:p="http://schemas.openxmlformats.org/presentationml/2006/main">
  <p:tag name="KSO_WM_SLIDE_BACKGROUND_TYPE" val="navigation"/>
</p:tagLst>
</file>

<file path=ppt/tags/tag61.xml><?xml version="1.0" encoding="utf-8"?>
<p:tagLst xmlns:p="http://schemas.openxmlformats.org/presentationml/2006/main">
  <p:tag name="KSO_WM_SLIDE_BACKGROUND_TYPE" val="navigation"/>
</p:tagLst>
</file>

<file path=ppt/tags/tag62.xml><?xml version="1.0" encoding="utf-8"?>
<p:tagLst xmlns:p="http://schemas.openxmlformats.org/presentationml/2006/main">
  <p:tag name="KSO_WM_UNIT_SUBTYPE" val="v"/>
  <p:tag name="KSO_WM_TEMPLATE_CATEGORY" val="chip"/>
  <p:tag name="KSO_WM_TEMPLATE_INDEX" val="20220976"/>
  <p:tag name="KSO_WM_UNIT_TYPE" val="i"/>
  <p:tag name="KSO_WM_UNIT_INDEX" val="1"/>
  <p:tag name="KSO_WM_UNIT_ID" val="chip20220976_10*i*1"/>
  <p:tag name="KSO_WM_BEAUTIFY_FLAG" val="#wm#"/>
  <p:tag name="KSO_WM_TAG_VERSION" val="1.0"/>
  <p:tag name="KSO_WM_CHIP_GROUPID" val="618ddf349d7b144ec989f16d"/>
  <p:tag name="KSO_WM_CHIP_XID" val="618e0a8a5268663be886272e"/>
  <p:tag name="KSO_WM_UNIT_DEC_AREA_ID" val="5204f60c3e7a4f8aa855587def23fc8e"/>
  <p:tag name="KSO_WM_CHIP_FILLAREA_FILL_RULE" val="{&quot;fill_align&quot;:&quot;cm&quot;,&quot;fill_effect&quot;:[],&quot;fill_mode&quot;:&quot;full&quot;,&quot;sacle_strategy&quot;:&quot;stretch&quot;}"/>
  <p:tag name="KSO_WM_UNIT_DEC_SUPPORTCHANGEPIC" val="0"/>
  <p:tag name="KSO_WM_UNIT_DEC_CHANGEPICRESERVED" val="1"/>
  <p:tag name="KSO_WM_ASSEMBLE_CHIP_INDEX" val="eae68a695aaa4a4d847d2f465c3d4f69"/>
  <p:tag name="KSO_WM_SLIDE_BACKGROUND_TYPE" val="belt"/>
</p:tagLst>
</file>

<file path=ppt/tags/tag63.xml><?xml version="1.0" encoding="utf-8"?>
<p:tagLst xmlns:p="http://schemas.openxmlformats.org/presentationml/2006/main">
  <p:tag name="KSO_WM_SLIDE_BACKGROUND_TYPE" val="belt"/>
  <p:tag name="KSO_WM_SLIDE_BK_DARK_LIGHT" val="2"/>
  <p:tag name="KSO_WM_UNIT_HIGHLIGHT" val="0"/>
  <p:tag name="KSO_WM_UNIT_COMPATIBLE" val="0"/>
  <p:tag name="KSO_WM_UNIT_DIAGRAM_ISNUMVISUAL" val="0"/>
  <p:tag name="KSO_WM_UNIT_DIAGRAM_ISREFERUNIT" val="0"/>
  <p:tag name="KSO_WM_UNIT_ID" val="bg20220286_7*i*1"/>
  <p:tag name="KSO_WM_UNIT_LAYERLEVEL" val="1"/>
  <p:tag name="KSO_WM_TAG_VERSION" val="1.0"/>
  <p:tag name="KSO_WM_BEAUTIFY_FLAG" val="#wm#"/>
  <p:tag name="KSO_WM_UNIT_SUBTYPE" val="h"/>
  <p:tag name="KSO_WM_UNIT_TYPE" val="i"/>
  <p:tag name="KSO_WM_UNIT_INDEX" val="1"/>
  <p:tag name="KSO_WM_UNIT_BK_DARK_LIGHT" val="2"/>
  <p:tag name="KSO_WM_TEMPLATE_CATEGORY" val="bg"/>
  <p:tag name="KSO_WM_TEMPLATE_INDEX" val="20220286"/>
  <p:tag name="KSO_WM_CHIP_GROUPID" val="612f6a61c37455bdf62a9584"/>
  <p:tag name="KSO_WM_CHIP_XID" val="612f6a61c37455bdf62a958b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64.xml><?xml version="1.0" encoding="utf-8"?>
<p:tagLst xmlns:p="http://schemas.openxmlformats.org/presentationml/2006/main">
  <p:tag name="KSO_WM_SLIDE_BACKGROUND_TYPE" val="belt"/>
</p:tagLst>
</file>

<file path=ppt/tags/tag65.xml><?xml version="1.0" encoding="utf-8"?>
<p:tagLst xmlns:p="http://schemas.openxmlformats.org/presentationml/2006/main">
  <p:tag name="KSO_WM_SLIDE_BACKGROUND_TYPE" val="belt"/>
</p:tagLst>
</file>

<file path=ppt/tags/tag66.xml><?xml version="1.0" encoding="utf-8"?>
<p:tagLst xmlns:p="http://schemas.openxmlformats.org/presentationml/2006/main">
  <p:tag name="KSO_WM_SLIDE_BACKGROUND_TYPE" val="belt"/>
</p:tagLst>
</file>

<file path=ppt/tags/tag67.xml><?xml version="1.0" encoding="utf-8"?>
<p:tagLst xmlns:p="http://schemas.openxmlformats.org/presentationml/2006/main">
  <p:tag name="KSO_WM_SLIDE_BACKGROUND_TYPE" val="belt"/>
</p:tagLst>
</file>

<file path=ppt/tags/tag68.xml><?xml version="1.0" encoding="utf-8"?>
<p:tagLst xmlns:p="http://schemas.openxmlformats.org/presentationml/2006/main">
  <p:tag name="KSO_WM_SLIDE_BACKGROUND_TYPE" val="belt"/>
</p:tagLst>
</file>

<file path=ppt/tags/tag69.xml><?xml version="1.0" encoding="utf-8"?>
<p:tagLst xmlns:p="http://schemas.openxmlformats.org/presentationml/2006/main">
  <p:tag name="KSO_WM_TEMPLATE_CATEGORY" val="custom"/>
  <p:tag name="KSO_WM_TEMPLATE_INDEX" val="20220976"/>
</p:tagLst>
</file>

<file path=ppt/tags/tag7.xml><?xml version="1.0" encoding="utf-8"?>
<p:tagLst xmlns:p="http://schemas.openxmlformats.org/presentationml/2006/main">
  <p:tag name="KSO_WM_UNIT_SUBTYPE" val="v"/>
  <p:tag name="KSO_WM_TEMPLATE_CATEGORY" val="chip"/>
  <p:tag name="KSO_WM_TEMPLATE_INDEX" val="20220976"/>
  <p:tag name="KSO_WM_UNIT_TYPE" val="i"/>
  <p:tag name="KSO_WM_UNIT_INDEX" val="1"/>
  <p:tag name="KSO_WM_UNIT_ID" val="chip20220976_10*i*1"/>
  <p:tag name="KSO_WM_BEAUTIFY_FLAG" val="#wm#"/>
  <p:tag name="KSO_WM_TAG_VERSION" val="1.0"/>
  <p:tag name="KSO_WM_CHIP_GROUPID" val="618ddf349d7b144ec989f16d"/>
  <p:tag name="KSO_WM_CHIP_XID" val="618e0a8a5268663be886272e"/>
  <p:tag name="KSO_WM_UNIT_DEC_AREA_ID" val="d9eae15fe76b40e6984debcabf97c036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effect&quot;:[],&quot;fill_mode&quot;:&quot;full&quot;,&quot;sacle_strategy&quot;:&quot;stretch&quot;}"/>
  <p:tag name="KSO_WM_UNIT_DEC_SUPPORTCHANGEPIC" val="0"/>
  <p:tag name="KSO_WM_UNIT_DEC_CHANGEPICRESERVED" val="1"/>
  <p:tag name="KSO_WM_ASSEMBLE_CHIP_INDEX" val="a0294ecdd6df492db45eee51a79bb287"/>
</p:tagLst>
</file>

<file path=ppt/tags/tag70.xml><?xml version="1.0" encoding="utf-8"?>
<p:tagLst xmlns:p="http://schemas.openxmlformats.org/presentationml/2006/main">
  <p:tag name="KSO_WM_TEMPLATE_CATEGORY" val="custom"/>
  <p:tag name="KSO_WM_TEMPLATE_INDEX" val="20220976"/>
</p:tagLst>
</file>

<file path=ppt/tags/tag71.xml><?xml version="1.0" encoding="utf-8"?>
<p:tagLst xmlns:p="http://schemas.openxmlformats.org/presentationml/2006/main">
  <p:tag name="KSO_WM_BEAUTIFY_FLAG" val="#wm#"/>
  <p:tag name="KSO_WM_TAG_VERSION" val="1.0"/>
  <p:tag name="KSO_WM_TEMPLATE_CATEGORY" val="custom"/>
  <p:tag name="KSO_WM_TEMPLATE_INDEX" val="20220976"/>
  <p:tag name="KSO_WM_CHIP_COLORING" val="3"/>
</p:tagLst>
</file>

<file path=ppt/tags/tag7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SUBTYPE" val="v"/>
  <p:tag name="KSO_WM_UNIT_TYPE" val="i"/>
  <p:tag name="KSO_WM_UNIT_INDEX" val="1"/>
  <p:tag name="KSO_WM_UNIT_ID" val="chip20203882_1*i*1"/>
  <p:tag name="KSO_WM_TEMPLATE_CATEGORY" val="chip"/>
  <p:tag name="KSO_WM_TEMPLATE_INDEX" val="20203882"/>
  <p:tag name="KSO_WM_UNIT_LAYERLEVEL" val="1"/>
  <p:tag name="KSO_WM_TAG_VERSION" val="1.0"/>
  <p:tag name="KSO_WM_BEAUTIFY_FLAG" val="#wm#"/>
  <p:tag name="KSO_WM_CHIP_GROUPID" val="5f8961c8a61ec3b5528498be"/>
  <p:tag name="KSO_WM_CHIP_XID" val="5f8961c8a61ec3b5528498bf"/>
  <p:tag name="KSO_WM_UNIT_DEC_AREA_ID" val="094688b3532c42718305f9d63ac82121"/>
  <p:tag name="KSO_WM_UNIT_DECORATE_INFO" val=""/>
  <p:tag name="KSO_WM_UNIT_SM_LIMIT_TYPE" val=""/>
  <p:tag name="KSO_WM_CHIP_FILLAREA_FILL_RULE" val="{&quot;fill_align&quot;:&quot;cm&quot;,&quot;fill_effect&quot;:[],&quot;fill_mode&quot;:&quot;adaptive&quot;,&quot;sacle_strategy&quot;:&quot;stretch&quot;}"/>
  <p:tag name="KSO_WM_UNIT_DEC_SUPPORTCHANGEPIC" val="0"/>
  <p:tag name="KSO_WM_UNIT_DEC_CHANGEPICRESERVED" val="1"/>
  <p:tag name="KSO_WM_ASSEMBLE_CHIP_INDEX" val="9f76d08c459348119cf1c5cf157e5580"/>
</p:tagLst>
</file>

<file path=ppt/tags/tag7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custom20203882_1*a*1"/>
  <p:tag name="KSO_WM_TEMPLATE_CATEGORY" val="custom"/>
  <p:tag name="KSO_WM_TEMPLATE_INDEX" val="20203882"/>
  <p:tag name="KSO_WM_UNIT_LAYERLEVEL" val="1"/>
  <p:tag name="KSO_WM_TAG_VERSION" val="1.0"/>
  <p:tag name="KSO_WM_BEAUTIFY_FLAG" val="#wm#"/>
  <p:tag name="KSO_WM_UNIT_ISCONTENTSTITLE" val="0"/>
  <p:tag name="KSO_WM_UNIT_NOCLEAR" val="0"/>
  <p:tag name="KSO_WM_UNIT_VALUE" val="16"/>
  <p:tag name="KSO_WM_UNIT_TYPE" val="a"/>
  <p:tag name="KSO_WM_UNIT_INDEX" val="1"/>
  <p:tag name="KSO_WM_UNIT_ISNUMDGMTITLE" val="0"/>
  <p:tag name="KSO_WM_UNIT_PRESET_TEXT" val="同心逐梦 不断超越"/>
  <p:tag name="KSO_WM_UNIT_BLOCK" val="0"/>
  <p:tag name="KSO_WM_UNIT_DEC_AREA_ID" val="eca69ea22220420589fee946220474ce"/>
  <p:tag name="KSO_WM_UNIT_DEFAULT_FONT" val="24;60;4"/>
  <p:tag name="KSO_WM_CHIP_GROUPID" val="5f2a1b2845e1f15ec24fe3f8"/>
  <p:tag name="KSO_WM_CHIP_XID" val="5f2a1b2845e1f15ec24fe3f9"/>
  <p:tag name="KSO_WM_CHIP_FILLAREA_FILL_RULE" val="{&quot;fill_align&quot;:&quot;cm&quot;,&quot;fill_mode&quot;:&quot;adaptive&quot;,&quot;sacle_strategy&quot;:&quot;smart&quot;}"/>
  <p:tag name="KSO_WM_ASSEMBLE_CHIP_INDEX" val="ba5f943728d7455bb3ca9d66c28153aa"/>
  <p:tag name="KSO_WM_UNIT_TEXT_FILL_FORE_SCHEMECOLOR_INDEX_BRIGHTNESS" val="0.15"/>
  <p:tag name="KSO_WM_UNIT_TEXT_FILL_FORE_SCHEMECOLOR_INDEX" val="13"/>
  <p:tag name="KSO_WM_UNIT_TEXT_FILL_TYPE" val="1"/>
  <p:tag name="KSO_WM_TEMPLATE_ASSEMBLE_XID" val="5f978b66e01a7e847d6e487a"/>
  <p:tag name="KSO_WM_TEMPLATE_ASSEMBLE_GROUPID" val="5f8961c8a61ec3b5528498be"/>
</p:tagLst>
</file>

<file path=ppt/tags/tag7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custom20203882_1*b*1"/>
  <p:tag name="KSO_WM_TEMPLATE_CATEGORY" val="custom"/>
  <p:tag name="KSO_WM_TEMPLATE_INDEX" val="20203882"/>
  <p:tag name="KSO_WM_UNIT_LAYERLEVEL" val="1"/>
  <p:tag name="KSO_WM_TAG_VERSION" val="1.0"/>
  <p:tag name="KSO_WM_BEAUTIFY_FLAG" val="#wm#"/>
  <p:tag name="KSO_WM_UNIT_ISCONTENTSTITLE" val="0"/>
  <p:tag name="KSO_WM_UNIT_NOCLEAR" val="0"/>
  <p:tag name="KSO_WM_UNIT_VALUE" val="20"/>
  <p:tag name="KSO_WM_UNIT_TYPE" val="b"/>
  <p:tag name="KSO_WM_UNIT_INDEX" val="1"/>
  <p:tag name="KSO_WM_UNIT_ISNUMDGMTITLE" val="0"/>
  <p:tag name="KSO_WM_UNIT_PRESET_TEXT" val="单击此处添加文本具体内容"/>
  <p:tag name="KSO_WM_UNIT_BLOCK" val="0"/>
  <p:tag name="KSO_WM_UNIT_DEC_AREA_ID" val="ff0d5d12beae4a8fb61e59bc3e5444ad"/>
  <p:tag name="KSO_WM_UNIT_DEFAULT_FONT" val="18;24;2"/>
  <p:tag name="KSO_WM_CHIP_GROUPID" val="5f2a1b2845e1f15ec24fe3f8"/>
  <p:tag name="KSO_WM_CHIP_XID" val="5f2a1b2845e1f15ec24fe3f9"/>
  <p:tag name="KSO_WM_CHIP_FILLAREA_FILL_RULE" val="{&quot;fill_align&quot;:&quot;cm&quot;,&quot;fill_mode&quot;:&quot;adaptive&quot;,&quot;sacle_strategy&quot;:&quot;smart&quot;}"/>
  <p:tag name="KSO_WM_ASSEMBLE_CHIP_INDEX" val="ba5f943728d7455bb3ca9d66c28153aa"/>
  <p:tag name="KSO_WM_UNIT_TEXT_FILL_FORE_SCHEMECOLOR_INDEX_BRIGHTNESS" val="0.35"/>
  <p:tag name="KSO_WM_UNIT_TEXT_FILL_FORE_SCHEMECOLOR_INDEX" val="13"/>
  <p:tag name="KSO_WM_UNIT_TEXT_FILL_TYPE" val="1"/>
  <p:tag name="KSO_WM_TEMPLATE_ASSEMBLE_XID" val="5f978b66e01a7e847d6e487a"/>
  <p:tag name="KSO_WM_TEMPLATE_ASSEMBLE_GROUPID" val="5f8961c8a61ec3b5528498be"/>
</p:tagLst>
</file>

<file path=ppt/tags/tag7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SUBTYPE" val="t"/>
  <p:tag name="KSO_WM_UNIT_TYPE" val="i"/>
  <p:tag name="KSO_WM_UNIT_INDEX" val="1"/>
  <p:tag name="KSO_WM_UNIT_ID" val="chip20203882_3*i*1"/>
  <p:tag name="KSO_WM_TEMPLATE_CATEGORY" val="chip"/>
  <p:tag name="KSO_WM_TEMPLATE_INDEX" val="20203882"/>
  <p:tag name="KSO_WM_UNIT_LAYERLEVEL" val="1"/>
  <p:tag name="KSO_WM_TAG_VERSION" val="1.0"/>
  <p:tag name="KSO_WM_BEAUTIFY_FLAG" val="#wm#"/>
  <p:tag name="KSO_WM_CHIP_GROUPID" val="5f8961c8a61ec3b5528498be"/>
  <p:tag name="KSO_WM_CHIP_XID" val="5f8961c8a61ec3b5528498c1"/>
  <p:tag name="KSO_WM_UNIT_DEC_AREA_ID" val="ac5c628b1eee495abbdd83270b9118f3"/>
  <p:tag name="KSO_WM_UNIT_DECORATE_INFO" val=""/>
  <p:tag name="KSO_WM_UNIT_SM_LIMIT_TYPE" val=""/>
  <p:tag name="KSO_WM_CHIP_FILLAREA_FILL_RULE" val="{&quot;fill_align&quot;:&quot;cm&quot;,&quot;fill_effect&quot;:[],&quot;fill_mode&quot;:&quot;full&quot;,&quot;sacle_strategy&quot;:&quot;stretch&quot;}"/>
  <p:tag name="KSO_WM_ASSEMBLE_CHIP_INDEX" val="cf180f3a988a4b4cbf4323ae0ed705bf"/>
</p:tagLst>
</file>

<file path=ppt/tags/tag7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SUBTYPE" val="t"/>
  <p:tag name="KSO_WM_UNIT_TYPE" val="i"/>
  <p:tag name="KSO_WM_UNIT_INDEX" val="1"/>
  <p:tag name="KSO_WM_UNIT_ID" val="chip20203882_4*i*1"/>
  <p:tag name="KSO_WM_TEMPLATE_CATEGORY" val="chip"/>
  <p:tag name="KSO_WM_TEMPLATE_INDEX" val="20203882"/>
  <p:tag name="KSO_WM_UNIT_LAYERLEVEL" val="1"/>
  <p:tag name="KSO_WM_TAG_VERSION" val="1.0"/>
  <p:tag name="KSO_WM_BEAUTIFY_FLAG" val="#wm#"/>
  <p:tag name="KSO_WM_CHIP_GROUPID" val="5f8961c8a61ec3b5528498be"/>
  <p:tag name="KSO_WM_CHIP_XID" val="5f8961c8a61ec3b5528498c2"/>
  <p:tag name="KSO_WM_UNIT_DEC_AREA_ID" val="67f98d1f90d1455db93e7afd0858fe7a"/>
  <p:tag name="KSO_WM_UNIT_DECORATE_INFO" val=""/>
  <p:tag name="KSO_WM_UNIT_SM_LIMIT_TYPE" val=""/>
  <p:tag name="KSO_WM_CHIP_FILLAREA_FILL_RULE" val="{&quot;fill_align&quot;:&quot;cm&quot;,&quot;fill_effect&quot;:[],&quot;fill_mode&quot;:&quot;full&quot;,&quot;sacle_strategy&quot;:&quot;stretch&quot;}"/>
  <p:tag name="KSO_WM_ASSEMBLE_CHIP_INDEX" val="5645f9b9fc5c43e9ba2597a99d5d4b21"/>
</p:tagLst>
</file>

<file path=ppt/tags/tag7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SUBTYPE" val="u"/>
  <p:tag name="KSO_WM_UNIT_TYPE" val="i"/>
  <p:tag name="KSO_WM_UNIT_INDEX" val="1"/>
  <p:tag name="KSO_WM_UNIT_ID" val="chip20203882_2*i*1"/>
  <p:tag name="KSO_WM_TEMPLATE_CATEGORY" val="chip"/>
  <p:tag name="KSO_WM_TEMPLATE_INDEX" val="20203882"/>
  <p:tag name="KSO_WM_UNIT_LAYERLEVEL" val="1"/>
  <p:tag name="KSO_WM_TAG_VERSION" val="1.0"/>
  <p:tag name="KSO_WM_BEAUTIFY_FLAG" val="#wm#"/>
  <p:tag name="KSO_WM_CHIP_GROUPID" val="5f8961c8a61ec3b5528498be"/>
  <p:tag name="KSO_WM_CHIP_XID" val="5f8961c8a61ec3b5528498c0"/>
  <p:tag name="KSO_WM_UNIT_DEC_AREA_ID" val="cf9195daf3bf42b39b9155db4ab905a1"/>
  <p:tag name="KSO_WM_UNIT_DECORATE_INFO" val=""/>
  <p:tag name="KSO_WM_UNIT_SM_LIMIT_TYPE" val=""/>
  <p:tag name="KSO_WM_CHIP_FILLAREA_FILL_RULE" val="{&quot;fill_align&quot;:&quot;lm&quot;,&quot;fill_effect&quot;:[],&quot;fill_mode&quot;:&quot;adaptive&quot;,&quot;sacle_strategy&quot;:&quot;stretch&quot;}"/>
  <p:tag name="KSO_WM_ASSEMBLE_CHIP_INDEX" val="3588600c1a3c477c91394e619bb6e1eb"/>
</p:tagLst>
</file>

<file path=ppt/tags/tag7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SUBTYPE" val="t"/>
  <p:tag name="KSO_WM_UNIT_TYPE" val="i"/>
  <p:tag name="KSO_WM_UNIT_INDEX" val="1"/>
  <p:tag name="KSO_WM_UNIT_ID" val="chip20203882_3*i*1"/>
  <p:tag name="KSO_WM_TEMPLATE_CATEGORY" val="chip"/>
  <p:tag name="KSO_WM_TEMPLATE_INDEX" val="20203882"/>
  <p:tag name="KSO_WM_UNIT_LAYERLEVEL" val="1"/>
  <p:tag name="KSO_WM_TAG_VERSION" val="1.0"/>
  <p:tag name="KSO_WM_BEAUTIFY_FLAG" val="#wm#"/>
  <p:tag name="KSO_WM_CHIP_GROUPID" val="5f8961c8a61ec3b5528498be"/>
  <p:tag name="KSO_WM_CHIP_XID" val="5f8961c8a61ec3b5528498c1"/>
  <p:tag name="KSO_WM_UNIT_DEC_AREA_ID" val="00014a1044d24ab7a343d2088d857f5e"/>
  <p:tag name="KSO_WM_UNIT_DECORATE_INFO" val=""/>
  <p:tag name="KSO_WM_UNIT_SM_LIMIT_TYPE" val=""/>
  <p:tag name="KSO_WM_CHIP_FILLAREA_FILL_RULE" val="{&quot;fill_align&quot;:&quot;cm&quot;,&quot;fill_effect&quot;:[],&quot;fill_mode&quot;:&quot;full&quot;,&quot;sacle_strategy&quot;:&quot;stretch&quot;}"/>
  <p:tag name="KSO_WM_ASSEMBLE_CHIP_INDEX" val="96a4bf12c00c4f918737b25ed6475b2f"/>
</p:tagLst>
</file>

<file path=ppt/tags/tag7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SUBTYPE" val="t"/>
  <p:tag name="KSO_WM_UNIT_TYPE" val="i"/>
  <p:tag name="KSO_WM_UNIT_INDEX" val="1"/>
  <p:tag name="KSO_WM_UNIT_ID" val="chip20203882_4*i*1"/>
  <p:tag name="KSO_WM_TEMPLATE_CATEGORY" val="chip"/>
  <p:tag name="KSO_WM_TEMPLATE_INDEX" val="20203882"/>
  <p:tag name="KSO_WM_UNIT_LAYERLEVEL" val="1"/>
  <p:tag name="KSO_WM_TAG_VERSION" val="1.0"/>
  <p:tag name="KSO_WM_BEAUTIFY_FLAG" val="#wm#"/>
  <p:tag name="KSO_WM_CHIP_GROUPID" val="5f8961c8a61ec3b5528498be"/>
  <p:tag name="KSO_WM_CHIP_XID" val="5f8961c8a61ec3b5528498c2"/>
  <p:tag name="KSO_WM_UNIT_DEC_AREA_ID" val="54754bd194ee487fa7079e56d394898e"/>
  <p:tag name="KSO_WM_UNIT_DECORATE_INFO" val=""/>
  <p:tag name="KSO_WM_UNIT_SM_LIMIT_TYPE" val=""/>
  <p:tag name="KSO_WM_CHIP_FILLAREA_FILL_RULE" val="{&quot;fill_align&quot;:&quot;cm&quot;,&quot;fill_effect&quot;:[],&quot;fill_mode&quot;:&quot;full&quot;,&quot;sacle_strategy&quot;:&quot;stretch&quot;}"/>
  <p:tag name="KSO_WM_ASSEMBLE_CHIP_INDEX" val="f2bb9e839a5e42c09d5080ccd91b9d25"/>
</p:tagLst>
</file>

<file path=ppt/tags/tag8.xml><?xml version="1.0" encoding="utf-8"?>
<p:tagLst xmlns:p="http://schemas.openxmlformats.org/presentationml/2006/main">
  <p:tag name="KSO_WM_UNIT_SUBTYPE" val="v"/>
  <p:tag name="KSO_WM_TEMPLATE_CATEGORY" val="chip"/>
  <p:tag name="KSO_WM_TEMPLATE_INDEX" val="20220976"/>
  <p:tag name="KSO_WM_UNIT_TYPE" val="i"/>
  <p:tag name="KSO_WM_UNIT_INDEX" val="1"/>
  <p:tag name="KSO_WM_UNIT_ID" val="chip20220976_10*i*1"/>
  <p:tag name="KSO_WM_BEAUTIFY_FLAG" val="#wm#"/>
  <p:tag name="KSO_WM_TAG_VERSION" val="1.0"/>
  <p:tag name="KSO_WM_CHIP_GROUPID" val="618ddf349d7b144ec989f16d"/>
  <p:tag name="KSO_WM_CHIP_XID" val="618e0a8a5268663be886272e"/>
  <p:tag name="KSO_WM_UNIT_DEC_AREA_ID" val="d9eae15fe76b40e6984debcabf97c036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effect&quot;:[],&quot;fill_mode&quot;:&quot;full&quot;,&quot;sacle_strategy&quot;:&quot;stretch&quot;}"/>
  <p:tag name="KSO_WM_UNIT_DEC_SUPPORTCHANGEPIC" val="0"/>
  <p:tag name="KSO_WM_UNIT_DEC_CHANGEPICRESERVED" val="1"/>
  <p:tag name="KSO_WM_ASSEMBLE_CHIP_INDEX" val="a0294ecdd6df492db45eee51a79bb287"/>
</p:tagLst>
</file>

<file path=ppt/tags/tag80.xml><?xml version="1.0" encoding="utf-8"?>
<p:tagLst xmlns:p="http://schemas.openxmlformats.org/presentationml/2006/main">
  <p:tag name="KSO_WM_UNIT_ISCONTENTSTITLE" val="0"/>
  <p:tag name="KSO_WM_UNIT_ISNUMDGMTITLE" val="0"/>
  <p:tag name="KSO_WM_UNIT_NOCLEAR" val="0"/>
  <p:tag name="KSO_WM_UNIT_VALUE" val="19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custom20203882_1*a*1"/>
  <p:tag name="KSO_WM_TEMPLATE_CATEGORY" val="custom"/>
  <p:tag name="KSO_WM_TEMPLATE_INDEX" val="20203882"/>
  <p:tag name="KSO_WM_UNIT_LAYERLEVEL" val="1"/>
  <p:tag name="KSO_WM_TAG_VERSION" val="1.0"/>
  <p:tag name="KSO_WM_BEAUTIFY_FLAG" val="#wm#"/>
  <p:tag name="KSO_WM_UNIT_PRESET_TEXT" val="单击此处添加大标题内容"/>
  <p:tag name="KSO_WM_UNIT_DEFAULT_FONT" val="24;32;2"/>
  <p:tag name="KSO_WM_UNIT_BLOCK" val="0"/>
  <p:tag name="KSO_WM_UNIT_DEC_AREA_ID" val="b528c956a9f44a27b87fdaea7b09376c"/>
  <p:tag name="KSO_WM_CHIP_GROUPID" val="5ebe41950ac41c4a0a525618"/>
  <p:tag name="KSO_WM_CHIP_XID" val="5ebe41950ac41c4a0a525619"/>
  <p:tag name="KSO_WM_CHIP_FILLAREA_FILL_RULE" val="{&quot;fill_align&quot;:&quot;cm&quot;,&quot;fill_mode&quot;:&quot;adaptive&quot;,&quot;sacle_strategy&quot;:&quot;smart&quot;}"/>
  <p:tag name="KSO_WM_ASSEMBLE_CHIP_INDEX" val="4e387d1b338f4078bbc6bca003c15425"/>
  <p:tag name="KSO_WM_UNIT_TEXT_FILL_FORE_SCHEMECOLOR_INDEX_BRIGHTNESS" val="0.15"/>
  <p:tag name="KSO_WM_UNIT_TEXT_FILL_FORE_SCHEMECOLOR_INDEX" val="13"/>
  <p:tag name="KSO_WM_UNIT_TEXT_FILL_TYPE" val="1"/>
  <p:tag name="KSO_WM_TEMPLATE_ASSEMBLE_XID" val="5f978b66e01a7e847d6e4870"/>
  <p:tag name="KSO_WM_TEMPLATE_ASSEMBLE_GROUPID" val="5f8961c8a61ec3b5528498be"/>
</p:tagLst>
</file>

<file path=ppt/tags/tag81.xml><?xml version="1.0" encoding="utf-8"?>
<p:tagLst xmlns:p="http://schemas.openxmlformats.org/presentationml/2006/main">
  <p:tag name="KSO_WM_UNIT_ISCONTENTSTITLE" val="0"/>
  <p:tag name="KSO_WM_UNIT_ISNUMDGMTITLE" val="0"/>
  <p:tag name="KSO_WM_UNIT_NOCLEAR" val="0"/>
  <p:tag name="KSO_WM_UNIT_VALUE" val="165"/>
  <p:tag name="KSO_WM_UNIT_HIGHLIGHT" val="0"/>
  <p:tag name="KSO_WM_UNIT_COMPATIBLE" val="0"/>
  <p:tag name="KSO_WM_UNIT_DIAGRAM_ISNUMVISUAL" val="0"/>
  <p:tag name="KSO_WM_UNIT_DIAGRAM_ISREFERUNIT" val="0"/>
  <p:tag name="KSO_WM_UNIT_TYPE" val="b"/>
  <p:tag name="KSO_WM_UNIT_INDEX" val="1"/>
  <p:tag name="KSO_WM_UNIT_ID" val="custom20203882_1*b*1"/>
  <p:tag name="KSO_WM_TEMPLATE_CATEGORY" val="custom"/>
  <p:tag name="KSO_WM_TEMPLATE_INDEX" val="20203882"/>
  <p:tag name="KSO_WM_UNIT_LAYERLEVEL" val="1"/>
  <p:tag name="KSO_WM_TAG_VERSION" val="1.0"/>
  <p:tag name="KSO_WM_BEAUTIFY_FLAG" val="#wm#"/>
  <p:tag name="KSO_WM_UNIT_PRESET_TEXT" val="单击此处输入你的正文，文字是您思想的提炼，为了最终演示发布的良好效果。"/>
  <p:tag name="KSO_WM_UNIT_DEFAULT_FONT" val="14;16;2"/>
  <p:tag name="KSO_WM_UNIT_BLOCK" val="0"/>
  <p:tag name="KSO_WM_UNIT_DEC_AREA_ID" val="c4574e27b58943b5823c1834f7bb40c7"/>
  <p:tag name="KSO_WM_CHIP_GROUPID" val="5ebe41950ac41c4a0a525618"/>
  <p:tag name="KSO_WM_CHIP_XID" val="5ebe41950ac41c4a0a525619"/>
  <p:tag name="KSO_WM_CHIP_FILLAREA_FILL_RULE" val="{&quot;fill_align&quot;:&quot;cm&quot;,&quot;fill_mode&quot;:&quot;adaptive&quot;,&quot;sacle_strategy&quot;:&quot;smart&quot;}"/>
  <p:tag name="KSO_WM_ASSEMBLE_CHIP_INDEX" val="4e387d1b338f4078bbc6bca003c15425"/>
  <p:tag name="KSO_WM_UNIT_TEXT_FILL_FORE_SCHEMECOLOR_INDEX_BRIGHTNESS" val="0.35"/>
  <p:tag name="KSO_WM_UNIT_TEXT_FILL_FORE_SCHEMECOLOR_INDEX" val="13"/>
  <p:tag name="KSO_WM_UNIT_TEXT_FILL_TYPE" val="1"/>
  <p:tag name="KSO_WM_TEMPLATE_ASSEMBLE_XID" val="5f978b66e01a7e847d6e4870"/>
  <p:tag name="KSO_WM_TEMPLATE_ASSEMBLE_GROUPID" val="5f8961c8a61ec3b5528498be"/>
</p:tagLst>
</file>

<file path=ppt/tags/tag8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SUBTYPE" val="t"/>
  <p:tag name="KSO_WM_UNIT_TYPE" val="i"/>
  <p:tag name="KSO_WM_UNIT_INDEX" val="1"/>
  <p:tag name="KSO_WM_UNIT_ID" val="chip20203882_3*i*1"/>
  <p:tag name="KSO_WM_TEMPLATE_CATEGORY" val="chip"/>
  <p:tag name="KSO_WM_TEMPLATE_INDEX" val="20203882"/>
  <p:tag name="KSO_WM_UNIT_LAYERLEVEL" val="1"/>
  <p:tag name="KSO_WM_TAG_VERSION" val="1.0"/>
  <p:tag name="KSO_WM_BEAUTIFY_FLAG" val="#wm#"/>
  <p:tag name="KSO_WM_CHIP_GROUPID" val="5f8961c8a61ec3b5528498be"/>
  <p:tag name="KSO_WM_CHIP_XID" val="5f8961c8a61ec3b5528498c1"/>
  <p:tag name="KSO_WM_UNIT_DEC_AREA_ID" val="ac5c628b1eee495abbdd83270b9118f3"/>
  <p:tag name="KSO_WM_UNIT_DECORATE_INFO" val=""/>
  <p:tag name="KSO_WM_UNIT_SM_LIMIT_TYPE" val=""/>
  <p:tag name="KSO_WM_CHIP_FILLAREA_FILL_RULE" val="{&quot;fill_align&quot;:&quot;cm&quot;,&quot;fill_effect&quot;:[],&quot;fill_mode&quot;:&quot;full&quot;,&quot;sacle_strategy&quot;:&quot;stretch&quot;}"/>
  <p:tag name="KSO_WM_ASSEMBLE_CHIP_INDEX" val="cf180f3a988a4b4cbf4323ae0ed705bf"/>
</p:tagLst>
</file>

<file path=ppt/tags/tag8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SUBTYPE" val="t"/>
  <p:tag name="KSO_WM_UNIT_TYPE" val="i"/>
  <p:tag name="KSO_WM_UNIT_INDEX" val="1"/>
  <p:tag name="KSO_WM_UNIT_ID" val="chip20203882_4*i*1"/>
  <p:tag name="KSO_WM_TEMPLATE_CATEGORY" val="chip"/>
  <p:tag name="KSO_WM_TEMPLATE_INDEX" val="20203882"/>
  <p:tag name="KSO_WM_UNIT_LAYERLEVEL" val="1"/>
  <p:tag name="KSO_WM_TAG_VERSION" val="1.0"/>
  <p:tag name="KSO_WM_BEAUTIFY_FLAG" val="#wm#"/>
  <p:tag name="KSO_WM_CHIP_GROUPID" val="5f8961c8a61ec3b5528498be"/>
  <p:tag name="KSO_WM_CHIP_XID" val="5f8961c8a61ec3b5528498c2"/>
  <p:tag name="KSO_WM_UNIT_DEC_AREA_ID" val="67f98d1f90d1455db93e7afd0858fe7a"/>
  <p:tag name="KSO_WM_UNIT_DECORATE_INFO" val=""/>
  <p:tag name="KSO_WM_UNIT_SM_LIMIT_TYPE" val=""/>
  <p:tag name="KSO_WM_CHIP_FILLAREA_FILL_RULE" val="{&quot;fill_align&quot;:&quot;cm&quot;,&quot;fill_effect&quot;:[],&quot;fill_mode&quot;:&quot;full&quot;,&quot;sacle_strategy&quot;:&quot;stretch&quot;}"/>
  <p:tag name="KSO_WM_ASSEMBLE_CHIP_INDEX" val="5645f9b9fc5c43e9ba2597a99d5d4b21"/>
</p:tagLst>
</file>

<file path=ppt/tags/tag8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SUBTYPE" val="t"/>
  <p:tag name="KSO_WM_UNIT_TYPE" val="i"/>
  <p:tag name="KSO_WM_UNIT_INDEX" val="1"/>
  <p:tag name="KSO_WM_UNIT_ID" val="chip20203882_3*i*1"/>
  <p:tag name="KSO_WM_TEMPLATE_CATEGORY" val="chip"/>
  <p:tag name="KSO_WM_TEMPLATE_INDEX" val="20203882"/>
  <p:tag name="KSO_WM_UNIT_LAYERLEVEL" val="1"/>
  <p:tag name="KSO_WM_TAG_VERSION" val="1.0"/>
  <p:tag name="KSO_WM_BEAUTIFY_FLAG" val="#wm#"/>
  <p:tag name="KSO_WM_CHIP_GROUPID" val="5f8961c8a61ec3b5528498be"/>
  <p:tag name="KSO_WM_CHIP_XID" val="5f8961c8a61ec3b5528498c1"/>
  <p:tag name="KSO_WM_UNIT_DEC_AREA_ID" val="ac5c628b1eee495abbdd83270b9118f3"/>
  <p:tag name="KSO_WM_UNIT_DECORATE_INFO" val=""/>
  <p:tag name="KSO_WM_UNIT_SM_LIMIT_TYPE" val=""/>
  <p:tag name="KSO_WM_CHIP_FILLAREA_FILL_RULE" val="{&quot;fill_align&quot;:&quot;cm&quot;,&quot;fill_effect&quot;:[],&quot;fill_mode&quot;:&quot;full&quot;,&quot;sacle_strategy&quot;:&quot;stretch&quot;}"/>
  <p:tag name="KSO_WM_ASSEMBLE_CHIP_INDEX" val="cf180f3a988a4b4cbf4323ae0ed705bf"/>
</p:tagLst>
</file>

<file path=ppt/tags/tag8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SUBTYPE" val="t"/>
  <p:tag name="KSO_WM_UNIT_TYPE" val="i"/>
  <p:tag name="KSO_WM_UNIT_INDEX" val="1"/>
  <p:tag name="KSO_WM_UNIT_ID" val="chip20203882_4*i*1"/>
  <p:tag name="KSO_WM_TEMPLATE_CATEGORY" val="chip"/>
  <p:tag name="KSO_WM_TEMPLATE_INDEX" val="20203882"/>
  <p:tag name="KSO_WM_UNIT_LAYERLEVEL" val="1"/>
  <p:tag name="KSO_WM_TAG_VERSION" val="1.0"/>
  <p:tag name="KSO_WM_BEAUTIFY_FLAG" val="#wm#"/>
  <p:tag name="KSO_WM_CHIP_GROUPID" val="5f8961c8a61ec3b5528498be"/>
  <p:tag name="KSO_WM_CHIP_XID" val="5f8961c8a61ec3b5528498c2"/>
  <p:tag name="KSO_WM_UNIT_DEC_AREA_ID" val="67f98d1f90d1455db93e7afd0858fe7a"/>
  <p:tag name="KSO_WM_UNIT_DECORATE_INFO" val=""/>
  <p:tag name="KSO_WM_UNIT_SM_LIMIT_TYPE" val=""/>
  <p:tag name="KSO_WM_CHIP_FILLAREA_FILL_RULE" val="{&quot;fill_align&quot;:&quot;cm&quot;,&quot;fill_effect&quot;:[],&quot;fill_mode&quot;:&quot;full&quot;,&quot;sacle_strategy&quot;:&quot;stretch&quot;}"/>
  <p:tag name="KSO_WM_ASSEMBLE_CHIP_INDEX" val="5645f9b9fc5c43e9ba2597a99d5d4b21"/>
</p:tagLst>
</file>

<file path=ppt/tags/tag8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SUBTYPE" val="u"/>
  <p:tag name="KSO_WM_UNIT_TYPE" val="i"/>
  <p:tag name="KSO_WM_UNIT_INDEX" val="1"/>
  <p:tag name="KSO_WM_UNIT_ID" val="chip20203882_2*i*1"/>
  <p:tag name="KSO_WM_TEMPLATE_CATEGORY" val="chip"/>
  <p:tag name="KSO_WM_TEMPLATE_INDEX" val="20203882"/>
  <p:tag name="KSO_WM_UNIT_LAYERLEVEL" val="1"/>
  <p:tag name="KSO_WM_TAG_VERSION" val="1.0"/>
  <p:tag name="KSO_WM_BEAUTIFY_FLAG" val="#wm#"/>
  <p:tag name="KSO_WM_CHIP_GROUPID" val="5f8961c8a61ec3b5528498be"/>
  <p:tag name="KSO_WM_CHIP_XID" val="5f8961c8a61ec3b5528498c0"/>
  <p:tag name="KSO_WM_UNIT_DEC_AREA_ID" val="f4d1810ddf7048599adf880729c5bac3"/>
  <p:tag name="KSO_WM_UNIT_DECORATE_INFO" val=""/>
  <p:tag name="KSO_WM_UNIT_SM_LIMIT_TYPE" val=""/>
  <p:tag name="KSO_WM_CHIP_FILLAREA_FILL_RULE" val="{&quot;fill_align&quot;:&quot;lm&quot;,&quot;fill_effect&quot;:[],&quot;fill_mode&quot;:&quot;adaptive&quot;,&quot;sacle_strategy&quot;:&quot;stretch&quot;}"/>
  <p:tag name="KSO_WM_ASSEMBLE_CHIP_INDEX" val="8a6d5284fb6d40759e84a54aab2135eb"/>
</p:tagLst>
</file>

<file path=ppt/tags/tag8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SUBTYPE" val="t"/>
  <p:tag name="KSO_WM_UNIT_TYPE" val="i"/>
  <p:tag name="KSO_WM_UNIT_INDEX" val="1"/>
  <p:tag name="KSO_WM_UNIT_ID" val="chip20203882_3*i*1"/>
  <p:tag name="KSO_WM_TEMPLATE_CATEGORY" val="chip"/>
  <p:tag name="KSO_WM_TEMPLATE_INDEX" val="20203882"/>
  <p:tag name="KSO_WM_UNIT_LAYERLEVEL" val="1"/>
  <p:tag name="KSO_WM_TAG_VERSION" val="1.0"/>
  <p:tag name="KSO_WM_BEAUTIFY_FLAG" val="#wm#"/>
  <p:tag name="KSO_WM_CHIP_GROUPID" val="5f8961c8a61ec3b5528498be"/>
  <p:tag name="KSO_WM_CHIP_XID" val="5f8961c8a61ec3b5528498c1"/>
  <p:tag name="KSO_WM_UNIT_DEC_AREA_ID" val="23b299ab8eda494aa8264237fbfafe4f"/>
  <p:tag name="KSO_WM_UNIT_DECORATE_INFO" val=""/>
  <p:tag name="KSO_WM_UNIT_SM_LIMIT_TYPE" val=""/>
  <p:tag name="KSO_WM_CHIP_FILLAREA_FILL_RULE" val="{&quot;fill_align&quot;:&quot;cm&quot;,&quot;fill_effect&quot;:[],&quot;fill_mode&quot;:&quot;full&quot;,&quot;sacle_strategy&quot;:&quot;stretch&quot;}"/>
  <p:tag name="KSO_WM_ASSEMBLE_CHIP_INDEX" val="a92986786cf64f10b531dc5efd65a5b2"/>
</p:tagLst>
</file>

<file path=ppt/tags/tag8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SUBTYPE" val="t"/>
  <p:tag name="KSO_WM_UNIT_TYPE" val="i"/>
  <p:tag name="KSO_WM_UNIT_INDEX" val="1"/>
  <p:tag name="KSO_WM_UNIT_ID" val="chip20203882_3*i*1"/>
  <p:tag name="KSO_WM_TEMPLATE_CATEGORY" val="chip"/>
  <p:tag name="KSO_WM_TEMPLATE_INDEX" val="20203882"/>
  <p:tag name="KSO_WM_UNIT_LAYERLEVEL" val="1"/>
  <p:tag name="KSO_WM_TAG_VERSION" val="1.0"/>
  <p:tag name="KSO_WM_BEAUTIFY_FLAG" val="#wm#"/>
  <p:tag name="KSO_WM_CHIP_GROUPID" val="5f8961c8a61ec3b5528498be"/>
  <p:tag name="KSO_WM_CHIP_XID" val="5f8961c8a61ec3b5528498c1"/>
  <p:tag name="KSO_WM_UNIT_DEC_AREA_ID" val="ac5c628b1eee495abbdd83270b9118f3"/>
  <p:tag name="KSO_WM_UNIT_DECORATE_INFO" val=""/>
  <p:tag name="KSO_WM_UNIT_SM_LIMIT_TYPE" val=""/>
  <p:tag name="KSO_WM_CHIP_FILLAREA_FILL_RULE" val="{&quot;fill_align&quot;:&quot;cm&quot;,&quot;fill_effect&quot;:[],&quot;fill_mode&quot;:&quot;full&quot;,&quot;sacle_strategy&quot;:&quot;stretch&quot;}"/>
  <p:tag name="KSO_WM_ASSEMBLE_CHIP_INDEX" val="cf180f3a988a4b4cbf4323ae0ed705bf"/>
</p:tagLst>
</file>

<file path=ppt/tags/tag8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SUBTYPE" val="t"/>
  <p:tag name="KSO_WM_UNIT_TYPE" val="i"/>
  <p:tag name="KSO_WM_UNIT_INDEX" val="1"/>
  <p:tag name="KSO_WM_UNIT_ID" val="chip20203882_4*i*1"/>
  <p:tag name="KSO_WM_TEMPLATE_CATEGORY" val="chip"/>
  <p:tag name="KSO_WM_TEMPLATE_INDEX" val="20203882"/>
  <p:tag name="KSO_WM_UNIT_LAYERLEVEL" val="1"/>
  <p:tag name="KSO_WM_TAG_VERSION" val="1.0"/>
  <p:tag name="KSO_WM_BEAUTIFY_FLAG" val="#wm#"/>
  <p:tag name="KSO_WM_CHIP_GROUPID" val="5f8961c8a61ec3b5528498be"/>
  <p:tag name="KSO_WM_CHIP_XID" val="5f8961c8a61ec3b5528498c2"/>
  <p:tag name="KSO_WM_UNIT_DEC_AREA_ID" val="67f98d1f90d1455db93e7afd0858fe7a"/>
  <p:tag name="KSO_WM_UNIT_DECORATE_INFO" val=""/>
  <p:tag name="KSO_WM_UNIT_SM_LIMIT_TYPE" val=""/>
  <p:tag name="KSO_WM_CHIP_FILLAREA_FILL_RULE" val="{&quot;fill_align&quot;:&quot;cm&quot;,&quot;fill_effect&quot;:[],&quot;fill_mode&quot;:&quot;full&quot;,&quot;sacle_strategy&quot;:&quot;stretch&quot;}"/>
  <p:tag name="KSO_WM_ASSEMBLE_CHIP_INDEX" val="5645f9b9fc5c43e9ba2597a99d5d4b21"/>
</p:tagLst>
</file>

<file path=ppt/tags/tag9.xml><?xml version="1.0" encoding="utf-8"?>
<p:tagLst xmlns:p="http://schemas.openxmlformats.org/presentationml/2006/main">
  <p:tag name="KSO_WM_UNIT_SUBTYPE" val="v"/>
  <p:tag name="KSO_WM_TEMPLATE_CATEGORY" val="chip"/>
  <p:tag name="KSO_WM_TEMPLATE_INDEX" val="20220976"/>
  <p:tag name="KSO_WM_UNIT_TYPE" val="i"/>
  <p:tag name="KSO_WM_UNIT_INDEX" val="1"/>
  <p:tag name="KSO_WM_UNIT_ID" val="chip20220976_4*i*1"/>
  <p:tag name="KSO_WM_BEAUTIFY_FLAG" val="#wm#"/>
  <p:tag name="KSO_WM_TAG_VERSION" val="1.0"/>
  <p:tag name="KSO_WM_CHIP_GROUPID" val="618ddf349d7b144ec989f16d"/>
  <p:tag name="KSO_WM_CHIP_XID" val="618e0a8a5268663be886272b"/>
  <p:tag name="KSO_WM_UNIT_DEC_AREA_ID" val="b416cad6b7b8407e99777828daa408b6"/>
  <p:tag name="KSO_WM_CHIP_FILLAREA_FILL_RULE" val="{&quot;fill_align&quot;:&quot;cm&quot;,&quot;fill_effect&quot;:[],&quot;fill_mode&quot;:&quot;full&quot;,&quot;sacle_strategy&quot;:&quot;stretch&quot;}"/>
  <p:tag name="KSO_WM_UNIT_DEC_SUPPORTCHANGEPIC" val="0"/>
  <p:tag name="KSO_WM_UNIT_DEC_CHANGEPICRESERVED" val="1"/>
  <p:tag name="KSO_WM_ASSEMBLE_CHIP_INDEX" val="b7836373fa634112980723e294d2d5ad"/>
</p:tagLst>
</file>

<file path=ppt/tags/tag9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SUBTYPE" val="t"/>
  <p:tag name="KSO_WM_UNIT_TYPE" val="i"/>
  <p:tag name="KSO_WM_UNIT_INDEX" val="1"/>
  <p:tag name="KSO_WM_UNIT_ID" val="chip20203882_3*i*1"/>
  <p:tag name="KSO_WM_TEMPLATE_CATEGORY" val="chip"/>
  <p:tag name="KSO_WM_TEMPLATE_INDEX" val="20203882"/>
  <p:tag name="KSO_WM_UNIT_LAYERLEVEL" val="1"/>
  <p:tag name="KSO_WM_TAG_VERSION" val="1.0"/>
  <p:tag name="KSO_WM_BEAUTIFY_FLAG" val="#wm#"/>
  <p:tag name="KSO_WM_CHIP_GROUPID" val="5f8961c8a61ec3b5528498be"/>
  <p:tag name="KSO_WM_CHIP_XID" val="5f8961c8a61ec3b5528498c1"/>
  <p:tag name="KSO_WM_UNIT_DEC_AREA_ID" val="ac5c628b1eee495abbdd83270b9118f3"/>
  <p:tag name="KSO_WM_UNIT_DECORATE_INFO" val=""/>
  <p:tag name="KSO_WM_UNIT_SM_LIMIT_TYPE" val=""/>
  <p:tag name="KSO_WM_CHIP_FILLAREA_FILL_RULE" val="{&quot;fill_align&quot;:&quot;cm&quot;,&quot;fill_effect&quot;:[],&quot;fill_mode&quot;:&quot;full&quot;,&quot;sacle_strategy&quot;:&quot;stretch&quot;}"/>
  <p:tag name="KSO_WM_ASSEMBLE_CHIP_INDEX" val="cf180f3a988a4b4cbf4323ae0ed705bf"/>
</p:tagLst>
</file>

<file path=ppt/tags/tag9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SUBTYPE" val="t"/>
  <p:tag name="KSO_WM_UNIT_TYPE" val="i"/>
  <p:tag name="KSO_WM_UNIT_INDEX" val="1"/>
  <p:tag name="KSO_WM_UNIT_ID" val="chip20203882_4*i*1"/>
  <p:tag name="KSO_WM_TEMPLATE_CATEGORY" val="chip"/>
  <p:tag name="KSO_WM_TEMPLATE_INDEX" val="20203882"/>
  <p:tag name="KSO_WM_UNIT_LAYERLEVEL" val="1"/>
  <p:tag name="KSO_WM_TAG_VERSION" val="1.0"/>
  <p:tag name="KSO_WM_BEAUTIFY_FLAG" val="#wm#"/>
  <p:tag name="KSO_WM_CHIP_GROUPID" val="5f8961c8a61ec3b5528498be"/>
  <p:tag name="KSO_WM_CHIP_XID" val="5f8961c8a61ec3b5528498c2"/>
  <p:tag name="KSO_WM_UNIT_DEC_AREA_ID" val="67f98d1f90d1455db93e7afd0858fe7a"/>
  <p:tag name="KSO_WM_UNIT_DECORATE_INFO" val=""/>
  <p:tag name="KSO_WM_UNIT_SM_LIMIT_TYPE" val=""/>
  <p:tag name="KSO_WM_CHIP_FILLAREA_FILL_RULE" val="{&quot;fill_align&quot;:&quot;cm&quot;,&quot;fill_effect&quot;:[],&quot;fill_mode&quot;:&quot;full&quot;,&quot;sacle_strategy&quot;:&quot;stretch&quot;}"/>
  <p:tag name="KSO_WM_ASSEMBLE_CHIP_INDEX" val="5645f9b9fc5c43e9ba2597a99d5d4b21"/>
</p:tagLst>
</file>

<file path=ppt/tags/tag9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SUBTYPE" val="t"/>
  <p:tag name="KSO_WM_UNIT_TYPE" val="i"/>
  <p:tag name="KSO_WM_UNIT_INDEX" val="1"/>
  <p:tag name="KSO_WM_UNIT_ID" val="chip20203882_3*i*1"/>
  <p:tag name="KSO_WM_TEMPLATE_CATEGORY" val="chip"/>
  <p:tag name="KSO_WM_TEMPLATE_INDEX" val="20203882"/>
  <p:tag name="KSO_WM_UNIT_LAYERLEVEL" val="1"/>
  <p:tag name="KSO_WM_TAG_VERSION" val="1.0"/>
  <p:tag name="KSO_WM_BEAUTIFY_FLAG" val="#wm#"/>
  <p:tag name="KSO_WM_CHIP_GROUPID" val="5f8961c8a61ec3b5528498be"/>
  <p:tag name="KSO_WM_CHIP_XID" val="5f8961c8a61ec3b5528498c1"/>
  <p:tag name="KSO_WM_UNIT_DEC_AREA_ID" val="ac5c628b1eee495abbdd83270b9118f3"/>
  <p:tag name="KSO_WM_UNIT_DECORATE_INFO" val=""/>
  <p:tag name="KSO_WM_UNIT_SM_LIMIT_TYPE" val=""/>
  <p:tag name="KSO_WM_CHIP_FILLAREA_FILL_RULE" val="{&quot;fill_align&quot;:&quot;cm&quot;,&quot;fill_effect&quot;:[],&quot;fill_mode&quot;:&quot;full&quot;,&quot;sacle_strategy&quot;:&quot;stretch&quot;}"/>
  <p:tag name="KSO_WM_ASSEMBLE_CHIP_INDEX" val="cf180f3a988a4b4cbf4323ae0ed705bf"/>
</p:tagLst>
</file>

<file path=ppt/tags/tag9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SUBTYPE" val="t"/>
  <p:tag name="KSO_WM_UNIT_TYPE" val="i"/>
  <p:tag name="KSO_WM_UNIT_INDEX" val="1"/>
  <p:tag name="KSO_WM_UNIT_ID" val="chip20203882_4*i*1"/>
  <p:tag name="KSO_WM_TEMPLATE_CATEGORY" val="chip"/>
  <p:tag name="KSO_WM_TEMPLATE_INDEX" val="20203882"/>
  <p:tag name="KSO_WM_UNIT_LAYERLEVEL" val="1"/>
  <p:tag name="KSO_WM_TAG_VERSION" val="1.0"/>
  <p:tag name="KSO_WM_BEAUTIFY_FLAG" val="#wm#"/>
  <p:tag name="KSO_WM_CHIP_GROUPID" val="5f8961c8a61ec3b5528498be"/>
  <p:tag name="KSO_WM_CHIP_XID" val="5f8961c8a61ec3b5528498c2"/>
  <p:tag name="KSO_WM_UNIT_DEC_AREA_ID" val="67f98d1f90d1455db93e7afd0858fe7a"/>
  <p:tag name="KSO_WM_UNIT_DECORATE_INFO" val=""/>
  <p:tag name="KSO_WM_UNIT_SM_LIMIT_TYPE" val=""/>
  <p:tag name="KSO_WM_CHIP_FILLAREA_FILL_RULE" val="{&quot;fill_align&quot;:&quot;cm&quot;,&quot;fill_effect&quot;:[],&quot;fill_mode&quot;:&quot;full&quot;,&quot;sacle_strategy&quot;:&quot;stretch&quot;}"/>
  <p:tag name="KSO_WM_ASSEMBLE_CHIP_INDEX" val="5645f9b9fc5c43e9ba2597a99d5d4b21"/>
</p:tagLst>
</file>

<file path=ppt/tags/tag9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SUBTYPE" val="v"/>
  <p:tag name="KSO_WM_UNIT_TYPE" val="i"/>
  <p:tag name="KSO_WM_UNIT_INDEX" val="1"/>
  <p:tag name="KSO_WM_UNIT_ID" val="chip20203882_1*i*1"/>
  <p:tag name="KSO_WM_TEMPLATE_CATEGORY" val="chip"/>
  <p:tag name="KSO_WM_TEMPLATE_INDEX" val="20203882"/>
  <p:tag name="KSO_WM_UNIT_LAYERLEVEL" val="1"/>
  <p:tag name="KSO_WM_TAG_VERSION" val="1.0"/>
  <p:tag name="KSO_WM_BEAUTIFY_FLAG" val="#wm#"/>
  <p:tag name="KSO_WM_CHIP_GROUPID" val="5f8961c8a61ec3b5528498be"/>
  <p:tag name="KSO_WM_CHIP_XID" val="5f8961c8a61ec3b5528498bf"/>
  <p:tag name="KSO_WM_UNIT_DEC_AREA_ID" val="094688b3532c42718305f9d63ac82121"/>
  <p:tag name="KSO_WM_UNIT_DECORATE_INFO" val=""/>
  <p:tag name="KSO_WM_UNIT_SM_LIMIT_TYPE" val=""/>
  <p:tag name="KSO_WM_CHIP_FILLAREA_FILL_RULE" val="{&quot;fill_align&quot;:&quot;cm&quot;,&quot;fill_effect&quot;:[],&quot;fill_mode&quot;:&quot;adaptive&quot;,&quot;sacle_strategy&quot;:&quot;stretch&quot;}"/>
  <p:tag name="KSO_WM_UNIT_DEC_SUPPORTCHANGEPIC" val="0"/>
  <p:tag name="KSO_WM_UNIT_DEC_CHANGEPICRESERVED" val="1"/>
  <p:tag name="KSO_WM_ASSEMBLE_CHIP_INDEX" val="9f76d08c459348119cf1c5cf157e5580"/>
</p:tagLst>
</file>

<file path=ppt/tags/tag95.xml><?xml version="1.0" encoding="utf-8"?>
<p:tagLst xmlns:p="http://schemas.openxmlformats.org/presentationml/2006/main">
  <p:tag name="KSO_WM_UNIT_ISCONTENTSTITLE" val="0"/>
  <p:tag name="KSO_WM_UNIT_ISNUMDGMTITLE" val="0"/>
  <p:tag name="KSO_WM_UNIT_NOCLEAR" val="0"/>
  <p:tag name="KSO_WM_UNIT_VALUE" val="70"/>
  <p:tag name="KSO_WM_UNIT_HIGHLIGHT" val="0"/>
  <p:tag name="KSO_WM_UNIT_COMPATIBLE" val="0"/>
  <p:tag name="KSO_WM_UNIT_DIAGRAM_ISNUMVISUAL" val="0"/>
  <p:tag name="KSO_WM_UNIT_DIAGRAM_ISREFERUNIT" val="0"/>
  <p:tag name="KSO_WM_UNIT_TYPE" val="b"/>
  <p:tag name="KSO_WM_UNIT_INDEX" val="1"/>
  <p:tag name="KSO_WM_UNIT_ID" val="custom20203882_1*b*1"/>
  <p:tag name="KSO_WM_TEMPLATE_CATEGORY" val="custom"/>
  <p:tag name="KSO_WM_TEMPLATE_INDEX" val="20203882"/>
  <p:tag name="KSO_WM_UNIT_LAYERLEVEL" val="1"/>
  <p:tag name="KSO_WM_TAG_VERSION" val="1.0"/>
  <p:tag name="KSO_WM_BEAUTIFY_FLAG" val="#wm#"/>
  <p:tag name="KSO_WM_UNIT_PRESET_TEXT" val="单击此处添加副标题内容"/>
  <p:tag name="KSO_WM_UNIT_DEFAULT_FONT" val="18;24;2"/>
  <p:tag name="KSO_WM_UNIT_BLOCK" val="0"/>
  <p:tag name="KSO_WM_UNIT_DEC_AREA_ID" val="2f1903faeec44fada553aa80cfe5d8b9"/>
  <p:tag name="KSO_WM_CHIP_GROUPID" val="5ebe3a6c0ac41c4a0a5255ef"/>
  <p:tag name="KSO_WM_CHIP_XID" val="5ebe3a6c0ac41c4a0a5255f0"/>
  <p:tag name="KSO_WM_CHIP_FILLAREA_FILL_RULE" val="{&quot;fill_align&quot;:&quot;cm&quot;,&quot;fill_mode&quot;:&quot;adaptive&quot;,&quot;sacle_strategy&quot;:&quot;smart&quot;}"/>
  <p:tag name="KSO_WM_ASSEMBLE_CHIP_INDEX" val="552a73f3c5cc4f1fa837a86c351584d9"/>
  <p:tag name="KSO_WM_UNIT_TEXT_FILL_FORE_SCHEMECOLOR_INDEX_BRIGHTNESS" val="0.35"/>
  <p:tag name="KSO_WM_UNIT_TEXT_FILL_FORE_SCHEMECOLOR_INDEX" val="13"/>
  <p:tag name="KSO_WM_UNIT_TEXT_FILL_TYPE" val="1"/>
  <p:tag name="KSO_WM_TEMPLATE_ASSEMBLE_XID" val="5f978b66e01a7e847d6e48b5"/>
  <p:tag name="KSO_WM_TEMPLATE_ASSEMBLE_GROUPID" val="5f8961c8a61ec3b5528498be"/>
</p:tagLst>
</file>

<file path=ppt/tags/tag96.xml><?xml version="1.0" encoding="utf-8"?>
<p:tagLst xmlns:p="http://schemas.openxmlformats.org/presentationml/2006/main">
  <p:tag name="KSO_WM_UNIT_ISCONTENTSTITLE" val="0"/>
  <p:tag name="KSO_WM_UNIT_ISNUMDGMTITLE" val="0"/>
  <p:tag name="KSO_WM_UNIT_NOCLEAR" val="1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custom20203882_1*a*1"/>
  <p:tag name="KSO_WM_TEMPLATE_CATEGORY" val="custom"/>
  <p:tag name="KSO_WM_TEMPLATE_INDEX" val="20203882"/>
  <p:tag name="KSO_WM_UNIT_LAYERLEVEL" val="1"/>
  <p:tag name="KSO_WM_TAG_VERSION" val="1.0"/>
  <p:tag name="KSO_WM_BEAUTIFY_FLAG" val="#wm#"/>
  <p:tag name="KSO_WM_UNIT_PRESET_TEXT" val="谢谢观看"/>
  <p:tag name="KSO_WM_UNIT_DEFAULT_FONT" val="66;88;4"/>
  <p:tag name="KSO_WM_UNIT_BLOCK" val="0"/>
  <p:tag name="KSO_WM_UNIT_DEC_AREA_ID" val="c2beb431eddb41529d964c1e9a6d20b1"/>
  <p:tag name="KSO_WM_CHIP_GROUPID" val="5ebe3a6c0ac41c4a0a5255ef"/>
  <p:tag name="KSO_WM_CHIP_XID" val="5ebe3a6c0ac41c4a0a5255f0"/>
  <p:tag name="KSO_WM_CHIP_FILLAREA_FILL_RULE" val="{&quot;fill_align&quot;:&quot;cm&quot;,&quot;fill_mode&quot;:&quot;adaptive&quot;,&quot;sacle_strategy&quot;:&quot;smart&quot;}"/>
  <p:tag name="KSO_WM_ASSEMBLE_CHIP_INDEX" val="552a73f3c5cc4f1fa837a86c351584d9"/>
  <p:tag name="KSO_WM_UNIT_TEXT_FILL_FORE_SCHEMECOLOR_INDEX_BRIGHTNESS" val="0.15"/>
  <p:tag name="KSO_WM_UNIT_TEXT_FILL_FORE_SCHEMECOLOR_INDEX" val="13"/>
  <p:tag name="KSO_WM_UNIT_TEXT_FILL_TYPE" val="1"/>
  <p:tag name="KSO_WM_UNIT_VALUE" val="16"/>
  <p:tag name="KSO_WM_TEMPLATE_ASSEMBLE_XID" val="5f978b66e01a7e847d6e48b5"/>
  <p:tag name="KSO_WM_TEMPLATE_ASSEMBLE_GROUPID" val="5f8961c8a61ec3b5528498be"/>
</p:tagLst>
</file>

<file path=ppt/tags/tag9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SUBTYPE" val="t"/>
  <p:tag name="KSO_WM_UNIT_TYPE" val="i"/>
  <p:tag name="KSO_WM_UNIT_INDEX" val="1"/>
  <p:tag name="KSO_WM_UNIT_ID" val="chip20203882_3*i*1"/>
  <p:tag name="KSO_WM_TEMPLATE_CATEGORY" val="chip"/>
  <p:tag name="KSO_WM_TEMPLATE_INDEX" val="20203882"/>
  <p:tag name="KSO_WM_UNIT_LAYERLEVEL" val="1"/>
  <p:tag name="KSO_WM_TAG_VERSION" val="1.0"/>
  <p:tag name="KSO_WM_BEAUTIFY_FLAG" val="#wm#"/>
  <p:tag name="KSO_WM_CHIP_GROUPID" val="5f8961c8a61ec3b5528498be"/>
  <p:tag name="KSO_WM_CHIP_XID" val="5f8961c8a61ec3b5528498c1"/>
  <p:tag name="KSO_WM_UNIT_DEC_AREA_ID" val="ac5c628b1eee495abbdd83270b9118f3"/>
  <p:tag name="KSO_WM_UNIT_DECORATE_INFO" val=""/>
  <p:tag name="KSO_WM_UNIT_SM_LIMIT_TYPE" val=""/>
  <p:tag name="KSO_WM_CHIP_FILLAREA_FILL_RULE" val="{&quot;fill_align&quot;:&quot;cm&quot;,&quot;fill_effect&quot;:[],&quot;fill_mode&quot;:&quot;full&quot;,&quot;sacle_strategy&quot;:&quot;stretch&quot;}"/>
  <p:tag name="KSO_WM_ASSEMBLE_CHIP_INDEX" val="cf180f3a988a4b4cbf4323ae0ed705bf"/>
  <p:tag name="KSO_WM_SLIDE_BACKGROUND_TYPE" val="general"/>
</p:tagLst>
</file>

<file path=ppt/tags/tag9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SUBTYPE" val="t"/>
  <p:tag name="KSO_WM_UNIT_TYPE" val="i"/>
  <p:tag name="KSO_WM_UNIT_INDEX" val="1"/>
  <p:tag name="KSO_WM_UNIT_ID" val="chip20203882_4*i*1"/>
  <p:tag name="KSO_WM_TEMPLATE_CATEGORY" val="chip"/>
  <p:tag name="KSO_WM_TEMPLATE_INDEX" val="20203882"/>
  <p:tag name="KSO_WM_UNIT_LAYERLEVEL" val="1"/>
  <p:tag name="KSO_WM_TAG_VERSION" val="1.0"/>
  <p:tag name="KSO_WM_BEAUTIFY_FLAG" val="#wm#"/>
  <p:tag name="KSO_WM_CHIP_GROUPID" val="5f8961c8a61ec3b5528498be"/>
  <p:tag name="KSO_WM_CHIP_XID" val="5f8961c8a61ec3b5528498c2"/>
  <p:tag name="KSO_WM_UNIT_DEC_AREA_ID" val="67f98d1f90d1455db93e7afd0858fe7a"/>
  <p:tag name="KSO_WM_UNIT_DECORATE_INFO" val=""/>
  <p:tag name="KSO_WM_UNIT_SM_LIMIT_TYPE" val=""/>
  <p:tag name="KSO_WM_CHIP_FILLAREA_FILL_RULE" val="{&quot;fill_align&quot;:&quot;cm&quot;,&quot;fill_effect&quot;:[],&quot;fill_mode&quot;:&quot;full&quot;,&quot;sacle_strategy&quot;:&quot;stretch&quot;}"/>
  <p:tag name="KSO_WM_ASSEMBLE_CHIP_INDEX" val="5645f9b9fc5c43e9ba2597a99d5d4b21"/>
  <p:tag name="KSO_WM_SLIDE_BACKGROUND_TYPE" val="general"/>
</p:tagLst>
</file>

<file path=ppt/tags/tag99.xml><?xml version="1.0" encoding="utf-8"?>
<p:tagLst xmlns:p="http://schemas.openxmlformats.org/presentationml/2006/main">
  <p:tag name="KSO_WM_SLIDE_BACKGROUND_TYPE" val="general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E81C3"/>
      </a:accent1>
      <a:accent2>
        <a:srgbClr val="14879E"/>
      </a:accent2>
      <a:accent3>
        <a:srgbClr val="3EA592"/>
      </a:accent3>
      <a:accent4>
        <a:srgbClr val="5066A2"/>
      </a:accent4>
      <a:accent5>
        <a:srgbClr val="5E5CA2"/>
      </a:accent5>
      <a:accent6>
        <a:srgbClr val="76839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主题​​">
  <a:themeElements>
    <a:clrScheme name="Adjacency">
      <a:dk1>
        <a:srgbClr val="000000"/>
      </a:dk1>
      <a:lt1>
        <a:srgbClr val="FFFFFF"/>
      </a:lt1>
      <a:dk2>
        <a:srgbClr val="ECEEF3"/>
      </a:dk2>
      <a:lt2>
        <a:srgbClr val="FFFFFF"/>
      </a:lt2>
      <a:accent1>
        <a:srgbClr val="4674EB"/>
      </a:accent1>
      <a:accent2>
        <a:srgbClr val="8E66DB"/>
      </a:accent2>
      <a:accent3>
        <a:srgbClr val="B956C3"/>
      </a:accent3>
      <a:accent4>
        <a:srgbClr val="D647A6"/>
      </a:accent4>
      <a:accent5>
        <a:srgbClr val="E54086"/>
      </a:accent5>
      <a:accent6>
        <a:srgbClr val="EA4566"/>
      </a:accent6>
      <a:hlink>
        <a:srgbClr val="0563C1"/>
      </a:hlink>
      <a:folHlink>
        <a:srgbClr val="954F72"/>
      </a:folHlink>
    </a:clrScheme>
    <a:fontScheme name="自定义 9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主题​​">
  <a:themeElements>
    <a:clrScheme name="">
      <a:dk1>
        <a:srgbClr val="000000"/>
      </a:dk1>
      <a:lt1>
        <a:srgbClr val="FFFFFF"/>
      </a:lt1>
      <a:dk2>
        <a:srgbClr val="F6E9E9"/>
      </a:dk2>
      <a:lt2>
        <a:srgbClr val="FFFFFF"/>
      </a:lt2>
      <a:accent1>
        <a:srgbClr val="AE4D4D"/>
      </a:accent1>
      <a:accent2>
        <a:srgbClr val="AF5A3E"/>
      </a:accent2>
      <a:accent3>
        <a:srgbClr val="9E6D3A"/>
      </a:accent3>
      <a:accent4>
        <a:srgbClr val="838340"/>
      </a:accent4>
      <a:accent5>
        <a:srgbClr val="659956"/>
      </a:accent5>
      <a:accent6>
        <a:srgbClr val="4CAD7C"/>
      </a:accent6>
      <a:hlink>
        <a:srgbClr val="0563C1"/>
      </a:hlink>
      <a:folHlink>
        <a:srgbClr val="954F72"/>
      </a:folHlink>
    </a:clrScheme>
    <a:fontScheme name="自定义 9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883</Words>
  <Application>WPS 演示</Application>
  <PresentationFormat>宽屏</PresentationFormat>
  <Paragraphs>74</Paragraphs>
  <Slides>9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5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9</vt:i4>
      </vt:variant>
    </vt:vector>
  </HeadingPairs>
  <TitlesOfParts>
    <vt:vector size="29" baseType="lpstr">
      <vt:lpstr>Arial</vt:lpstr>
      <vt:lpstr>宋体</vt:lpstr>
      <vt:lpstr>Wingdings</vt:lpstr>
      <vt:lpstr>微软雅黑</vt:lpstr>
      <vt:lpstr>Roboto</vt:lpstr>
      <vt:lpstr>Wide Latin</vt:lpstr>
      <vt:lpstr>黑体</vt:lpstr>
      <vt:lpstr>Calibri</vt:lpstr>
      <vt:lpstr>等线</vt:lpstr>
      <vt:lpstr>Arial Unicode MS</vt:lpstr>
      <vt:lpstr>Calibri Light</vt:lpstr>
      <vt:lpstr>汉仪粗简黑简</vt:lpstr>
      <vt:lpstr>汉仪粗黑 简</vt:lpstr>
      <vt:lpstr>汉仪旗黑-40S</vt:lpstr>
      <vt:lpstr>汉仪旗黑-85S</vt:lpstr>
      <vt:lpstr>主题5</vt:lpstr>
      <vt:lpstr>1_Office 主题​​</vt:lpstr>
      <vt:lpstr>2_Office 主题​​</vt:lpstr>
      <vt:lpstr>TCLayout.ActiveDocument.1</vt:lpstr>
      <vt:lpstr>TCLayout.ActiveDocument.1</vt:lpstr>
      <vt:lpstr>个人汇报</vt:lpstr>
      <vt:lpstr>PowerPoint 演示文稿</vt:lpstr>
      <vt:lpstr>任务清单</vt:lpstr>
      <vt:lpstr>代码文件</vt:lpstr>
      <vt:lpstr>相关测试</vt:lpstr>
      <vt:lpstr>完成的文档</vt:lpstr>
      <vt:lpstr>完成的文档</vt:lpstr>
      <vt:lpstr>心得体会</vt:lpstr>
      <vt:lpstr>Thanks</vt:lpstr>
    </vt:vector>
  </TitlesOfParts>
  <Company>iSlide</Company>
  <LinksUpToDate>false</LinksUpToDate>
  <SharedDoc>false</SharedDoc>
  <HyperlinksChanged>false</HyperlinksChanged>
  <AppVersion>14.0000</AppVersion>
  <Manager>iSlide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JJ</cp:lastModifiedBy>
  <cp:revision>14</cp:revision>
  <cp:lastPrinted>2019-06-05T16:00:00Z</cp:lastPrinted>
  <dcterms:created xsi:type="dcterms:W3CDTF">2019-06-05T16:00:00Z</dcterms:created>
  <dcterms:modified xsi:type="dcterms:W3CDTF">2022-06-27T14:32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0A619240171C46E994FA737B0CA0EB2E</vt:lpwstr>
  </property>
  <property fmtid="{D5CDD505-2E9C-101B-9397-08002B2CF9AE}" pid="4" name="KSOProductBuildVer">
    <vt:lpwstr>2052-11.1.0.11365</vt:lpwstr>
  </property>
</Properties>
</file>